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6"/>
  </p:notesMasterIdLst>
  <p:sldIdLst>
    <p:sldId id="283" r:id="rId2"/>
    <p:sldId id="280" r:id="rId3"/>
    <p:sldId id="281" r:id="rId4"/>
    <p:sldId id="282" r:id="rId5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dolpho Nogueira De Sousa, Enel" userId="cd1962c5-b19b-48cc-a612-8871366361e9" providerId="ADAL" clId="{3936D376-B446-4C2C-B581-0A86D32E4213}"/>
    <pc:docChg chg="modSld">
      <pc:chgData name="Rodolpho Nogueira De Sousa, Enel" userId="cd1962c5-b19b-48cc-a612-8871366361e9" providerId="ADAL" clId="{3936D376-B446-4C2C-B581-0A86D32E4213}" dt="2025-04-24T18:20:38.654" v="21" actId="20577"/>
      <pc:docMkLst>
        <pc:docMk/>
      </pc:docMkLst>
      <pc:sldChg chg="modSp mod">
        <pc:chgData name="Rodolpho Nogueira De Sousa, Enel" userId="cd1962c5-b19b-48cc-a612-8871366361e9" providerId="ADAL" clId="{3936D376-B446-4C2C-B581-0A86D32E4213}" dt="2025-04-24T18:20:38.654" v="21" actId="20577"/>
        <pc:sldMkLst>
          <pc:docMk/>
          <pc:sldMk cId="1805502384" sldId="283"/>
        </pc:sldMkLst>
        <pc:spChg chg="mod">
          <ac:chgData name="Rodolpho Nogueira De Sousa, Enel" userId="cd1962c5-b19b-48cc-a612-8871366361e9" providerId="ADAL" clId="{3936D376-B446-4C2C-B581-0A86D32E4213}" dt="2025-04-24T18:20:38.654" v="21" actId="20577"/>
          <ac:spMkLst>
            <pc:docMk/>
            <pc:sldMk cId="1805502384" sldId="283"/>
            <ac:spMk id="16" creationId="{903F0D06-1033-4223-E5FA-5CCE42CE2685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578A31-44FA-4AD1-8DDF-9A3AED8111FC}" type="datetimeFigureOut">
              <a:rPr lang="pt-BR" smtClean="0"/>
              <a:t>24/04/2025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4D86ED-448F-474F-AD24-0196A7F80160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24227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22D5EA-9373-1586-3625-5221E68642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9B3CD95B-A63D-94C4-F753-25592C8A1B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0768646E-88B5-7B78-2061-34BEB5BFC2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C62210F1-C01F-FA4C-7108-CD7F74FC54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410A97-9D94-49E7-BAE5-FA19E8498863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21231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328FF1-057E-F35C-7E69-4BE0B4D53C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DC5F0D66-F129-EF6C-7F20-1BE56FFDD6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C6F8E172-658A-912C-A167-2312A80398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3DE63CE4-1CB3-96B1-0102-0C78373C1D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410A97-9D94-49E7-BAE5-FA19E8498863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48811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C1C2A8-75E3-A74F-A22B-15B07A4897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D2B886D9-37F2-349D-61E6-01DB582A2E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12A3B743-FFC9-1F8D-1145-B78DF54FDE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0A3CD16D-4EB7-7DBD-15D3-7F16E85476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410A97-9D94-49E7-BAE5-FA19E8498863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8990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8A1335-F707-8938-DC15-1A0CF7C185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A748274B-C392-6EEA-0470-1C0BA86D12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81C8D53D-365E-613A-EBAD-F5C7D95D41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8AD3DE55-6FC3-B1B6-9874-72618E47C7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410A97-9D94-49E7-BAE5-FA19E8498863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5090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8">
            <a:extLst>
              <a:ext uri="{FF2B5EF4-FFF2-40B4-BE49-F238E27FC236}">
                <a16:creationId xmlns:a16="http://schemas.microsoft.com/office/drawing/2014/main" id="{E51D3E93-B4CC-E145-A5EF-359F29F29D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1397001" y="60570"/>
            <a:ext cx="508001" cy="1778000"/>
          </a:xfrm>
          <a:prstGeom prst="rect">
            <a:avLst/>
          </a:prstGeom>
          <a:solidFill>
            <a:schemeClr val="tx2"/>
          </a:solidFill>
          <a:ln w="12700">
            <a:miter lim="400000"/>
          </a:ln>
        </p:spPr>
        <p:txBody>
          <a:bodyPr lIns="18000" tIns="18000" rIns="18000" bIns="18000" anchor="ctr"/>
          <a:lstStyle/>
          <a:p>
            <a:endParaRPr sz="9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2001" y="1723877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82825" y="3429007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19" y="3429007"/>
            <a:ext cx="1510613" cy="27699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8" name="Immagine 5">
            <a:extLst>
              <a:ext uri="{FF2B5EF4-FFF2-40B4-BE49-F238E27FC236}">
                <a16:creationId xmlns:a16="http://schemas.microsoft.com/office/drawing/2014/main" id="{E8CD4351-A4C5-5A41-BF47-1C053A410A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0127" y="5811549"/>
            <a:ext cx="996698" cy="362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5255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4">
    <p:bg>
      <p:bgPr>
        <a:solidFill>
          <a:srgbClr val="0085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8">
            <a:extLst>
              <a:ext uri="{FF2B5EF4-FFF2-40B4-BE49-F238E27FC236}">
                <a16:creationId xmlns:a16="http://schemas.microsoft.com/office/drawing/2014/main" id="{9EDCA231-FEAA-E341-AD22-A49570614E3A}"/>
              </a:ext>
            </a:extLst>
          </p:cNvPr>
          <p:cNvSpPr/>
          <p:nvPr userDrawn="1"/>
        </p:nvSpPr>
        <p:spPr>
          <a:xfrm rot="16200000">
            <a:off x="1000126" y="451967"/>
            <a:ext cx="190501" cy="66675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18000" tIns="18000" rIns="18000" bIns="18000" anchor="ctr"/>
          <a:lstStyle/>
          <a:p>
            <a:pPr marL="0" indent="0" algn="ctr">
              <a:buFont typeface="Arial" panose="020B0604020202020204" pitchFamily="34" charset="0"/>
              <a:buNone/>
              <a:defRPr sz="1800">
                <a:latin typeface="Arial"/>
                <a:ea typeface="Arial"/>
                <a:cs typeface="Arial"/>
                <a:sym typeface="Arial"/>
              </a:defRPr>
            </a:pPr>
            <a:endParaRPr sz="900" dirty="0"/>
          </a:p>
        </p:txBody>
      </p:sp>
      <p:pic>
        <p:nvPicPr>
          <p:cNvPr id="23" name="Immagine 7">
            <a:extLst>
              <a:ext uri="{FF2B5EF4-FFF2-40B4-BE49-F238E27FC236}">
                <a16:creationId xmlns:a16="http://schemas.microsoft.com/office/drawing/2014/main" id="{D3FED8A7-FC87-C247-96BD-49B62886C6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4323" y="690091"/>
            <a:ext cx="996698" cy="362713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D5B532FE-4BB2-804F-8B34-6E2FCFC2DA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2001" y="1107652"/>
            <a:ext cx="2303928" cy="1368425"/>
          </a:xfrm>
        </p:spPr>
        <p:txBody>
          <a:bodyPr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</a:lstStyle>
          <a:p>
            <a:r>
              <a:rPr lang="it-IT"/>
              <a:t>Agenda</a:t>
            </a:r>
            <a:endParaRPr lang="en-GB"/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ECDCD36B-198B-7744-ADE1-13CBA89DA3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74519" y="1025115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1</a:t>
            </a:r>
            <a:endParaRPr lang="it-IT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5CC33B5A-B625-A54F-A45C-E9D5108164C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183103" y="1877716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7CF6386B-13E0-8B47-A639-6531D08AF77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54966" y="1002703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2</a:t>
            </a:r>
            <a:endParaRPr lang="it-IT"/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319389D0-704A-EE47-8594-0DFA91F3719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863550" y="1855304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DAC9A943-3D52-5C48-A5B7-2FDD4E43A6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557825" y="1002703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3</a:t>
            </a:r>
            <a:endParaRPr lang="it-IT"/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0AB4821B-339B-014F-99B6-EE5C5559A6E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566409" y="1855304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9C341713-23F4-4E4D-B663-65E9405BC76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83483" y="2741856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4</a:t>
            </a:r>
            <a:endParaRPr lang="it-IT"/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5EB38375-3C03-CF4D-86C8-DFF3A0F01AD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92067" y="3594457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4D2A2C20-FE41-6942-9269-4869B6457F5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63930" y="2719444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5</a:t>
            </a:r>
            <a:endParaRPr lang="it-IT"/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4FC30061-5622-E34A-9DE1-7B51E1442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72514" y="3572045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61AF714C-7A9C-234B-807C-4F664CF69AE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566789" y="2719444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6</a:t>
            </a:r>
            <a:endParaRPr lang="it-IT"/>
          </a:p>
        </p:txBody>
      </p:sp>
      <p:sp>
        <p:nvSpPr>
          <p:cNvPr id="16" name="Text Placeholder 23">
            <a:extLst>
              <a:ext uri="{FF2B5EF4-FFF2-40B4-BE49-F238E27FC236}">
                <a16:creationId xmlns:a16="http://schemas.microsoft.com/office/drawing/2014/main" id="{B51BA56C-7F8E-284E-922F-1A2D37BDCB5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75373" y="3572045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17" name="Text Placeholder 23">
            <a:extLst>
              <a:ext uri="{FF2B5EF4-FFF2-40B4-BE49-F238E27FC236}">
                <a16:creationId xmlns:a16="http://schemas.microsoft.com/office/drawing/2014/main" id="{0C7E36D2-D399-5D42-9322-EC2A11E0E6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187966" y="4427221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7</a:t>
            </a:r>
            <a:endParaRPr lang="it-IT"/>
          </a:p>
        </p:txBody>
      </p:sp>
      <p:sp>
        <p:nvSpPr>
          <p:cNvPr id="18" name="Text Placeholder 23">
            <a:extLst>
              <a:ext uri="{FF2B5EF4-FFF2-40B4-BE49-F238E27FC236}">
                <a16:creationId xmlns:a16="http://schemas.microsoft.com/office/drawing/2014/main" id="{F8D3647E-5355-944C-BEBF-9803EFACE72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196550" y="5279822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19" name="Text Placeholder 23">
            <a:extLst>
              <a:ext uri="{FF2B5EF4-FFF2-40B4-BE49-F238E27FC236}">
                <a16:creationId xmlns:a16="http://schemas.microsoft.com/office/drawing/2014/main" id="{6979AA52-9D67-7D41-9282-B494968C5CC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868413" y="4404809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8</a:t>
            </a:r>
            <a:endParaRPr lang="it-IT"/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046EFCC6-89EE-114C-97E0-95029AC0D1E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76997" y="5257410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21" name="Text Placeholder 23">
            <a:extLst>
              <a:ext uri="{FF2B5EF4-FFF2-40B4-BE49-F238E27FC236}">
                <a16:creationId xmlns:a16="http://schemas.microsoft.com/office/drawing/2014/main" id="{2C4F6283-BA22-EF46-82D1-7402865AC7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571272" y="4404809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9</a:t>
            </a:r>
            <a:endParaRPr lang="it-IT"/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466760D3-98A2-634C-BE39-7A199F1EB0A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579856" y="5257410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33" name="Footer Placeholder 4">
            <a:extLst>
              <a:ext uri="{FF2B5EF4-FFF2-40B4-BE49-F238E27FC236}">
                <a16:creationId xmlns:a16="http://schemas.microsoft.com/office/drawing/2014/main" id="{FEDBF7B0-4EC2-F541-9E82-3663D03173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033BE4D9-A94C-F549-9D78-F1BD668671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64825" y="6537600"/>
            <a:ext cx="762000" cy="12942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260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8">
            <a:extLst>
              <a:ext uri="{FF2B5EF4-FFF2-40B4-BE49-F238E27FC236}">
                <a16:creationId xmlns:a16="http://schemas.microsoft.com/office/drawing/2014/main" id="{9EDCA231-FEAA-E341-AD22-A49570614E3A}"/>
              </a:ext>
            </a:extLst>
          </p:cNvPr>
          <p:cNvSpPr/>
          <p:nvPr userDrawn="1"/>
        </p:nvSpPr>
        <p:spPr>
          <a:xfrm rot="16200000">
            <a:off x="1000126" y="451967"/>
            <a:ext cx="190501" cy="66675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18000" tIns="18000" rIns="18000" bIns="18000" anchor="ctr"/>
          <a:lstStyle/>
          <a:p>
            <a:pPr marL="0" indent="0" algn="ctr">
              <a:buFont typeface="Arial" panose="020B0604020202020204" pitchFamily="34" charset="0"/>
              <a:buNone/>
              <a:defRPr sz="1800">
                <a:latin typeface="Arial"/>
                <a:ea typeface="Arial"/>
                <a:cs typeface="Arial"/>
                <a:sym typeface="Arial"/>
              </a:defRPr>
            </a:pPr>
            <a:endParaRPr sz="900" dirty="0"/>
          </a:p>
        </p:txBody>
      </p:sp>
      <p:pic>
        <p:nvPicPr>
          <p:cNvPr id="23" name="Immagine 7">
            <a:extLst>
              <a:ext uri="{FF2B5EF4-FFF2-40B4-BE49-F238E27FC236}">
                <a16:creationId xmlns:a16="http://schemas.microsoft.com/office/drawing/2014/main" id="{D3FED8A7-FC87-C247-96BD-49B62886C6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4323" y="690091"/>
            <a:ext cx="996698" cy="362713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D5B532FE-4BB2-804F-8B34-6E2FCFC2DA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2001" y="1107652"/>
            <a:ext cx="2303928" cy="1368425"/>
          </a:xfrm>
        </p:spPr>
        <p:txBody>
          <a:bodyPr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</a:lstStyle>
          <a:p>
            <a:r>
              <a:rPr lang="it-IT"/>
              <a:t>Agenda</a:t>
            </a:r>
            <a:endParaRPr lang="en-GB"/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ECDCD36B-198B-7744-ADE1-13CBA89DA3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74519" y="1025115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1</a:t>
            </a:r>
            <a:endParaRPr lang="it-IT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5CC33B5A-B625-A54F-A45C-E9D5108164C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183103" y="1877716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7CF6386B-13E0-8B47-A639-6531D08AF77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54966" y="1002703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2</a:t>
            </a:r>
            <a:endParaRPr lang="it-IT"/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319389D0-704A-EE47-8594-0DFA91F3719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863550" y="1855304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DAC9A943-3D52-5C48-A5B7-2FDD4E43A6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557825" y="1002703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3</a:t>
            </a:r>
            <a:endParaRPr lang="it-IT"/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0AB4821B-339B-014F-99B6-EE5C5559A6E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566409" y="1855304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9C341713-23F4-4E4D-B663-65E9405BC76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83483" y="2741856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4</a:t>
            </a:r>
            <a:endParaRPr lang="it-IT"/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5EB38375-3C03-CF4D-86C8-DFF3A0F01AD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92067" y="3594457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4D2A2C20-FE41-6942-9269-4869B6457F5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63930" y="2719444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5</a:t>
            </a:r>
            <a:endParaRPr lang="it-IT"/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4FC30061-5622-E34A-9DE1-7B51E1442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72514" y="3572045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61AF714C-7A9C-234B-807C-4F664CF69AE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566789" y="2719444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6</a:t>
            </a:r>
            <a:endParaRPr lang="it-IT"/>
          </a:p>
        </p:txBody>
      </p:sp>
      <p:sp>
        <p:nvSpPr>
          <p:cNvPr id="16" name="Text Placeholder 23">
            <a:extLst>
              <a:ext uri="{FF2B5EF4-FFF2-40B4-BE49-F238E27FC236}">
                <a16:creationId xmlns:a16="http://schemas.microsoft.com/office/drawing/2014/main" id="{B51BA56C-7F8E-284E-922F-1A2D37BDCB5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75373" y="3572045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17" name="Text Placeholder 23">
            <a:extLst>
              <a:ext uri="{FF2B5EF4-FFF2-40B4-BE49-F238E27FC236}">
                <a16:creationId xmlns:a16="http://schemas.microsoft.com/office/drawing/2014/main" id="{0C7E36D2-D399-5D42-9322-EC2A11E0E6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187966" y="4427221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7</a:t>
            </a:r>
            <a:endParaRPr lang="it-IT"/>
          </a:p>
        </p:txBody>
      </p:sp>
      <p:sp>
        <p:nvSpPr>
          <p:cNvPr id="18" name="Text Placeholder 23">
            <a:extLst>
              <a:ext uri="{FF2B5EF4-FFF2-40B4-BE49-F238E27FC236}">
                <a16:creationId xmlns:a16="http://schemas.microsoft.com/office/drawing/2014/main" id="{F8D3647E-5355-944C-BEBF-9803EFACE72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196550" y="5279822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19" name="Text Placeholder 23">
            <a:extLst>
              <a:ext uri="{FF2B5EF4-FFF2-40B4-BE49-F238E27FC236}">
                <a16:creationId xmlns:a16="http://schemas.microsoft.com/office/drawing/2014/main" id="{6979AA52-9D67-7D41-9282-B494968C5CC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868413" y="4404809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8</a:t>
            </a:r>
            <a:endParaRPr lang="it-IT"/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046EFCC6-89EE-114C-97E0-95029AC0D1E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76997" y="5257410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21" name="Text Placeholder 23">
            <a:extLst>
              <a:ext uri="{FF2B5EF4-FFF2-40B4-BE49-F238E27FC236}">
                <a16:creationId xmlns:a16="http://schemas.microsoft.com/office/drawing/2014/main" id="{2C4F6283-BA22-EF46-82D1-7402865AC7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571272" y="4404809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9</a:t>
            </a:r>
            <a:endParaRPr lang="it-IT"/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466760D3-98A2-634C-BE39-7A199F1EB0A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579856" y="5257410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33" name="Footer Placeholder 4">
            <a:extLst>
              <a:ext uri="{FF2B5EF4-FFF2-40B4-BE49-F238E27FC236}">
                <a16:creationId xmlns:a16="http://schemas.microsoft.com/office/drawing/2014/main" id="{236F63CB-C580-7640-93BC-AF743990DD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0F0505F7-9971-AA47-960B-BF4B85FF54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64825" y="6537600"/>
            <a:ext cx="762000" cy="12942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r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37465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8">
            <a:extLst>
              <a:ext uri="{FF2B5EF4-FFF2-40B4-BE49-F238E27FC236}">
                <a16:creationId xmlns:a16="http://schemas.microsoft.com/office/drawing/2014/main" id="{9EDCA231-FEAA-E341-AD22-A49570614E3A}"/>
              </a:ext>
            </a:extLst>
          </p:cNvPr>
          <p:cNvSpPr/>
          <p:nvPr userDrawn="1"/>
        </p:nvSpPr>
        <p:spPr>
          <a:xfrm rot="16200000">
            <a:off x="1000126" y="451967"/>
            <a:ext cx="190501" cy="66675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18000" tIns="18000" rIns="18000" bIns="18000" anchor="ctr"/>
          <a:lstStyle/>
          <a:p>
            <a:pPr marL="0" indent="0" algn="ctr">
              <a:buFont typeface="Arial" panose="020B0604020202020204" pitchFamily="34" charset="0"/>
              <a:buNone/>
              <a:defRPr sz="1800">
                <a:latin typeface="Arial"/>
                <a:ea typeface="Arial"/>
                <a:cs typeface="Arial"/>
                <a:sym typeface="Arial"/>
              </a:defRPr>
            </a:pPr>
            <a:endParaRPr sz="900" dirty="0"/>
          </a:p>
        </p:txBody>
      </p:sp>
      <p:pic>
        <p:nvPicPr>
          <p:cNvPr id="23" name="Immagine 7">
            <a:extLst>
              <a:ext uri="{FF2B5EF4-FFF2-40B4-BE49-F238E27FC236}">
                <a16:creationId xmlns:a16="http://schemas.microsoft.com/office/drawing/2014/main" id="{D3FED8A7-FC87-C247-96BD-49B62886C6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4323" y="690091"/>
            <a:ext cx="996698" cy="362713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D5B532FE-4BB2-804F-8B34-6E2FCFC2DA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2001" y="1107652"/>
            <a:ext cx="2303928" cy="1368425"/>
          </a:xfrm>
        </p:spPr>
        <p:txBody>
          <a:bodyPr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</a:lstStyle>
          <a:p>
            <a:r>
              <a:rPr lang="it-IT"/>
              <a:t>Agenda</a:t>
            </a:r>
            <a:endParaRPr lang="en-GB"/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ECDCD36B-198B-7744-ADE1-13CBA89DA3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74519" y="1025115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1</a:t>
            </a:r>
            <a:endParaRPr lang="it-IT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5CC33B5A-B625-A54F-A45C-E9D5108164C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183103" y="1877716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7CF6386B-13E0-8B47-A639-6531D08AF77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54966" y="1002703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2</a:t>
            </a:r>
            <a:endParaRPr lang="it-IT"/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319389D0-704A-EE47-8594-0DFA91F3719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863550" y="1855304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DAC9A943-3D52-5C48-A5B7-2FDD4E43A6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557825" y="1002703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3</a:t>
            </a:r>
            <a:endParaRPr lang="it-IT"/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0AB4821B-339B-014F-99B6-EE5C5559A6E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566409" y="1855304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9C341713-23F4-4E4D-B663-65E9405BC76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83483" y="2741856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4</a:t>
            </a:r>
            <a:endParaRPr lang="it-IT"/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5EB38375-3C03-CF4D-86C8-DFF3A0F01AD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92067" y="3594457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4D2A2C20-FE41-6942-9269-4869B6457F5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63930" y="2719444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5</a:t>
            </a:r>
            <a:endParaRPr lang="it-IT"/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4FC30061-5622-E34A-9DE1-7B51E1442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72514" y="3572045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61AF714C-7A9C-234B-807C-4F664CF69AE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566789" y="2719444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6</a:t>
            </a:r>
            <a:endParaRPr lang="it-IT"/>
          </a:p>
        </p:txBody>
      </p:sp>
      <p:sp>
        <p:nvSpPr>
          <p:cNvPr id="16" name="Text Placeholder 23">
            <a:extLst>
              <a:ext uri="{FF2B5EF4-FFF2-40B4-BE49-F238E27FC236}">
                <a16:creationId xmlns:a16="http://schemas.microsoft.com/office/drawing/2014/main" id="{B51BA56C-7F8E-284E-922F-1A2D37BDCB5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75373" y="3572045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17" name="Text Placeholder 23">
            <a:extLst>
              <a:ext uri="{FF2B5EF4-FFF2-40B4-BE49-F238E27FC236}">
                <a16:creationId xmlns:a16="http://schemas.microsoft.com/office/drawing/2014/main" id="{0C7E36D2-D399-5D42-9322-EC2A11E0E6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187966" y="4427221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7</a:t>
            </a:r>
            <a:endParaRPr lang="it-IT"/>
          </a:p>
        </p:txBody>
      </p:sp>
      <p:sp>
        <p:nvSpPr>
          <p:cNvPr id="18" name="Text Placeholder 23">
            <a:extLst>
              <a:ext uri="{FF2B5EF4-FFF2-40B4-BE49-F238E27FC236}">
                <a16:creationId xmlns:a16="http://schemas.microsoft.com/office/drawing/2014/main" id="{F8D3647E-5355-944C-BEBF-9803EFACE72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196550" y="5279822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19" name="Text Placeholder 23">
            <a:extLst>
              <a:ext uri="{FF2B5EF4-FFF2-40B4-BE49-F238E27FC236}">
                <a16:creationId xmlns:a16="http://schemas.microsoft.com/office/drawing/2014/main" id="{6979AA52-9D67-7D41-9282-B494968C5CC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868413" y="4404809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8</a:t>
            </a:r>
            <a:endParaRPr lang="it-IT"/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046EFCC6-89EE-114C-97E0-95029AC0D1E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76997" y="5257410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21" name="Text Placeholder 23">
            <a:extLst>
              <a:ext uri="{FF2B5EF4-FFF2-40B4-BE49-F238E27FC236}">
                <a16:creationId xmlns:a16="http://schemas.microsoft.com/office/drawing/2014/main" id="{2C4F6283-BA22-EF46-82D1-7402865AC7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571272" y="4404809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9</a:t>
            </a:r>
            <a:endParaRPr lang="it-IT"/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466760D3-98A2-634C-BE39-7A199F1EB0A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579856" y="5257410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33" name="Footer Placeholder 4">
            <a:extLst>
              <a:ext uri="{FF2B5EF4-FFF2-40B4-BE49-F238E27FC236}">
                <a16:creationId xmlns:a16="http://schemas.microsoft.com/office/drawing/2014/main" id="{E780C923-B58D-8646-92FA-EA0B551C16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CED743C-4CAB-3B46-866D-4E726FF0E8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64825" y="6537600"/>
            <a:ext cx="762000" cy="12942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66433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Key Point - Full image">
    <p:bg>
      <p:bgPr>
        <a:solidFill>
          <a:srgbClr val="C6C6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27DF7CD-7B1E-4947-8A8D-C0CB91DB19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pt-BR" dirty="0"/>
              <a:t>Clique no ícone para adicionar uma imagem</a:t>
            </a:r>
            <a:endParaRPr lang="it-IT" dirty="0"/>
          </a:p>
        </p:txBody>
      </p:sp>
      <p:pic>
        <p:nvPicPr>
          <p:cNvPr id="11" name="Immagine 7">
            <a:extLst>
              <a:ext uri="{FF2B5EF4-FFF2-40B4-BE49-F238E27FC236}">
                <a16:creationId xmlns:a16="http://schemas.microsoft.com/office/drawing/2014/main" id="{7AEDC9B0-5E01-4344-A13E-26BC7193FC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4323" y="690091"/>
            <a:ext cx="996698" cy="362713"/>
          </a:xfrm>
          <a:prstGeom prst="rect">
            <a:avLst/>
          </a:prstGeom>
        </p:spPr>
      </p:pic>
      <p:sp>
        <p:nvSpPr>
          <p:cNvPr id="13" name="Rectangle 8">
            <a:extLst>
              <a:ext uri="{FF2B5EF4-FFF2-40B4-BE49-F238E27FC236}">
                <a16:creationId xmlns:a16="http://schemas.microsoft.com/office/drawing/2014/main" id="{1389E4EE-81BD-6941-B839-7233BBE1ABB6}"/>
              </a:ext>
            </a:extLst>
          </p:cNvPr>
          <p:cNvSpPr/>
          <p:nvPr userDrawn="1"/>
        </p:nvSpPr>
        <p:spPr>
          <a:xfrm rot="16200000">
            <a:off x="1000126" y="451967"/>
            <a:ext cx="190501" cy="66675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18000" tIns="18000" rIns="18000" bIns="18000" anchor="ctr"/>
          <a:lstStyle/>
          <a:p>
            <a:pPr marL="0" indent="0" algn="ctr">
              <a:buFont typeface="Arial" panose="020B0604020202020204" pitchFamily="34" charset="0"/>
              <a:buNone/>
              <a:defRPr sz="1800">
                <a:latin typeface="Arial"/>
                <a:ea typeface="Arial"/>
                <a:cs typeface="Arial"/>
                <a:sym typeface="Arial"/>
              </a:defRPr>
            </a:pPr>
            <a:endParaRPr sz="900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E8B392C5-DCB6-E24F-B45A-FEC052F660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2211" y="1134706"/>
            <a:ext cx="7606614" cy="1727247"/>
          </a:xfrm>
        </p:spPr>
        <p:txBody>
          <a:bodyPr/>
          <a:lstStyle>
            <a:lvl1pPr marL="0" indent="0">
              <a:buNone/>
              <a:defRPr sz="4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Insert key point on your pictur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B43D13-DFA6-8942-B6AA-9D1C96E4C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4825" y="6264005"/>
            <a:ext cx="7620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22251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to edit Master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2000" y="1548580"/>
            <a:ext cx="5334000" cy="466151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 sz="1800"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 sz="1800"/>
            </a:lvl2pPr>
            <a:lvl3pPr marL="254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>
                <a:tab pos="1057275" algn="l"/>
              </a:tabLst>
              <a:defRPr sz="1800"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1"/>
            <a:endParaRPr lang="en-GB"/>
          </a:p>
          <a:p>
            <a:pPr lvl="1"/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3819" y="1548580"/>
            <a:ext cx="5203005" cy="466151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2"/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C1CB1EB-1AD6-D54B-98A1-F4AFD459B3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664825" y="6534606"/>
            <a:ext cx="762000" cy="129429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10908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to edit Master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5554622-E911-FE4F-AFAE-295567289CEF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771832" y="1543664"/>
            <a:ext cx="3382297" cy="466151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1pPr>
            <a:lvl2pPr marL="0" indent="0">
              <a:buNone/>
              <a:defRPr/>
            </a:lvl2pPr>
            <a:lvl3pPr marL="254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>
                <a:tab pos="1057275" algn="l"/>
              </a:tabLst>
              <a:defRPr/>
            </a:lvl3pPr>
            <a:lvl4pPr marL="541338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4pPr>
          </a:lstStyle>
          <a:p>
            <a:pPr lvl="0"/>
            <a:r>
              <a:rPr lang="en-GB"/>
              <a:t>Master text style 18PT regular</a:t>
            </a:r>
          </a:p>
          <a:p>
            <a:pPr lvl="1"/>
            <a:r>
              <a:rPr lang="en-GB"/>
              <a:t>First level: Master bullet style 18PT regular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en-GB"/>
              <a:t>Second level: Master</a:t>
            </a:r>
            <a:br>
              <a:rPr lang="en-GB"/>
            </a:br>
            <a:r>
              <a:rPr lang="en-GB"/>
              <a:t>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</a:t>
            </a:r>
            <a:b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 bullet style 18PT regular</a:t>
            </a:r>
          </a:p>
          <a:p>
            <a:pPr lvl="1"/>
            <a:endParaRPr lang="en-GB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F3D448D0-4623-664F-8E51-28B17CF3436E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412225" y="1543664"/>
            <a:ext cx="3382297" cy="4661515"/>
          </a:xfrm>
        </p:spPr>
        <p:txBody>
          <a:bodyPr/>
          <a:lstStyle>
            <a:lvl1pPr marL="0" indent="0">
              <a:buNone/>
              <a:defRPr sz="1800"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 sz="1800"/>
            </a:lvl2pPr>
            <a:lvl3pPr marL="254000" indent="0">
              <a:buNone/>
              <a:defRPr sz="1800"/>
            </a:lvl3pPr>
            <a:lvl4pPr marL="541338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4pPr>
          </a:lstStyle>
          <a:p>
            <a:pPr lvl="0"/>
            <a:r>
              <a:rPr lang="en-GB"/>
              <a:t>Master text style 18PT regular</a:t>
            </a:r>
          </a:p>
          <a:p>
            <a:pPr lvl="1"/>
            <a:r>
              <a:rPr lang="en-GB"/>
              <a:t>First level: Master bullet style 18PT regular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en-GB"/>
              <a:t>Second level: Master</a:t>
            </a:r>
            <a:br>
              <a:rPr lang="en-GB"/>
            </a:br>
            <a:r>
              <a:rPr lang="en-GB"/>
              <a:t>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</a:t>
            </a:r>
            <a:b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 bullet style 18PT regular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Char char="-"/>
              <a:tabLst>
                <a:tab pos="1057275" algn="l"/>
              </a:tabLst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AE4F1F6-02D5-674A-88A8-6DDBCA2CE13E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52619" y="1543664"/>
            <a:ext cx="3382297" cy="466151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1pPr>
            <a:lvl2pPr marL="0" indent="0">
              <a:buNone/>
              <a:defRPr/>
            </a:lvl2pPr>
            <a:lvl3pPr marL="254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>
                <a:tab pos="1057275" algn="l"/>
              </a:tabLst>
              <a:defRPr/>
            </a:lvl3pPr>
            <a:lvl4pPr marL="541338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4pPr>
          </a:lstStyle>
          <a:p>
            <a:pPr lvl="0"/>
            <a:r>
              <a:rPr lang="en-GB"/>
              <a:t>Master text style 18PT regular</a:t>
            </a:r>
          </a:p>
          <a:p>
            <a:pPr lvl="1"/>
            <a:r>
              <a:rPr lang="en-GB"/>
              <a:t>First level: Master bullet style 18PT regular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en-GB"/>
              <a:t>Second level: Master</a:t>
            </a:r>
            <a:br>
              <a:rPr lang="en-GB"/>
            </a:br>
            <a:r>
              <a:rPr lang="en-GB"/>
              <a:t>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</a:t>
            </a:r>
            <a:b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 bullet style 18PT regular</a:t>
            </a:r>
          </a:p>
          <a:p>
            <a:pPr lvl="1"/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1E361F5-0D6D-9940-8ECE-6E9C6FFDC5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664825" y="6534606"/>
            <a:ext cx="762000" cy="129429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58395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to edit Maste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62C9728-A8D5-1347-8D53-C60DCD7D464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61999" y="1548580"/>
            <a:ext cx="10697497" cy="466151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1pPr>
            <a:lvl2pPr>
              <a:defRPr/>
            </a:lvl2pPr>
            <a:lvl3pPr marL="254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3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for key messages </a:t>
            </a:r>
            <a:br>
              <a:rPr kumimoji="0" lang="en-GB" sz="3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sz="3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/ 38PT black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3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for key messages </a:t>
            </a:r>
            <a:br>
              <a:rPr kumimoji="0" lang="en-GB" sz="3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sz="3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/ 38PT black 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FAADD94-86A3-8844-A619-8F178D90D8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4825" y="6534606"/>
            <a:ext cx="762000" cy="129429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07804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664825" y="6534606"/>
            <a:ext cx="762000" cy="129429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B0584A1-DF4D-5C4B-8116-BFE5D42F89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909569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5" y="6534606"/>
            <a:ext cx="762000" cy="129429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C79D66B-3803-E846-9566-8CCC9CD52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261407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485D2FE-42E5-48A5-8910-8A08FA28E16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62000" y="1548580"/>
            <a:ext cx="3392129" cy="466151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 sz="1800"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 sz="1800"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 sz="1800"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1"/>
            <a:endParaRPr lang="en-GB"/>
          </a:p>
          <a:p>
            <a:pPr lvl="1"/>
            <a:endParaRPr lang="en-GB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ED5E26B9-F91A-4D0B-81E7-6D0E3F5665C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12225" y="1548580"/>
            <a:ext cx="7014599" cy="466151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2"/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5F00760-F0BF-504A-8F0D-A2B6F398AA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1999" y="670121"/>
            <a:ext cx="8375651" cy="39498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to edit Master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3FAB27-E0FC-2A41-A4BC-89ED5E000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941B84A-C8FF-524A-8DAE-121E7E4529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5" y="6534606"/>
            <a:ext cx="762000" cy="129429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9667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 -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A picture showing a valley with wind turbines.">
            <a:extLst>
              <a:ext uri="{FF2B5EF4-FFF2-40B4-BE49-F238E27FC236}">
                <a16:creationId xmlns:a16="http://schemas.microsoft.com/office/drawing/2014/main" id="{5A4BE3B2-286A-47F5-9140-590F6C73D5B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233680"/>
            <a:ext cx="12192000" cy="81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8">
            <a:extLst>
              <a:ext uri="{FF2B5EF4-FFF2-40B4-BE49-F238E27FC236}">
                <a16:creationId xmlns:a16="http://schemas.microsoft.com/office/drawing/2014/main" id="{E51D3E93-B4CC-E145-A5EF-359F29F29D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1397001" y="60570"/>
            <a:ext cx="508001" cy="1778000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18000" tIns="18000" rIns="18000" bIns="18000" anchor="ctr"/>
          <a:lstStyle/>
          <a:p>
            <a:endParaRPr sz="9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2001" y="1723877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82825" y="3429007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19" y="3429007"/>
            <a:ext cx="1510613" cy="27699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11" name="Immagine 7">
            <a:extLst>
              <a:ext uri="{FF2B5EF4-FFF2-40B4-BE49-F238E27FC236}">
                <a16:creationId xmlns:a16="http://schemas.microsoft.com/office/drawing/2014/main" id="{99D170F0-50DE-F54D-B612-F3521E9606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4323" y="5820232"/>
            <a:ext cx="996698" cy="362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972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24439B7-D1A7-41FB-B083-7EE93F34B63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62000" y="1548580"/>
            <a:ext cx="6936658" cy="466151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 sz="1800"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 sz="1800"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 sz="1800"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1"/>
            <a:endParaRPr lang="en-GB"/>
          </a:p>
          <a:p>
            <a:pPr lvl="1"/>
            <a:endParaRPr lang="en-GB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45D9F3D5-97B2-4B71-84BB-42E84CEDFC8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996083" y="1548580"/>
            <a:ext cx="3430741" cy="466151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2"/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5F00760-F0BF-504A-8F0D-A2B6F398AA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1999" y="670121"/>
            <a:ext cx="8375651" cy="39498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to edit Master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3FAB27-E0FC-2A41-A4BC-89ED5E000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US" noProof="0"/>
              <a:t>Click to edit Master subtitle style if required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A29A5C5-30BF-6942-82F5-F9BD53B7AB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5" y="6534606"/>
            <a:ext cx="762000" cy="129429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25494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4BB4C81F-CB83-4190-9603-1B8DA179333E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772160" y="1543663"/>
            <a:ext cx="3430741" cy="466151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2"/>
            <a:endParaRPr lang="en-GB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27ACF70-2492-4134-9876-9466CC8C59D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545350" y="1543663"/>
            <a:ext cx="3430741" cy="466151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2"/>
            <a:endParaRPr lang="en-GB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46E09493-129D-4AF9-A130-128349F3402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996083" y="1543663"/>
            <a:ext cx="3382297" cy="466151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2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to edit Master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C94A30E-0A9C-6D41-94EF-F88BFC822D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664825" y="6534606"/>
            <a:ext cx="762000" cy="129429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8068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7852B57-0E0F-ED41-A725-843B487819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1E6B5932-4024-9A4F-B0B0-8110E3DFD9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4825" y="6534606"/>
            <a:ext cx="762000" cy="129429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BF8C5E5-E630-4060-8D93-0EF4B737D50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 sz="1800"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 sz="1800"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 sz="1800"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1"/>
            <a:endParaRPr lang="en-GB"/>
          </a:p>
          <a:p>
            <a:pPr lvl="1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10177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43C7B633-1079-4DF0-8613-6FC54AFB78E6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047167" y="3850311"/>
            <a:ext cx="5304174" cy="2286003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2"/>
            <a:endParaRPr lang="en-GB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5742C94C-75D3-4AFC-BCB5-001E3739E934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782320" y="3850311"/>
            <a:ext cx="5250427" cy="2286003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2"/>
            <a:endParaRPr lang="en-GB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D705B0DD-E462-4724-A648-C7FF9782F701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6047167" y="1533831"/>
            <a:ext cx="5304174" cy="229583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2"/>
            <a:endParaRPr lang="en-GB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644752D7-4C15-49E4-A44F-3D3A421FA6BC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782320" y="1543663"/>
            <a:ext cx="5250427" cy="2286003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2"/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5F00760-F0BF-504A-8F0D-A2B6F398AA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1999" y="670121"/>
            <a:ext cx="8375651" cy="39498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to edit Master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3FAB27-E0FC-2A41-A4BC-89ED5E000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8A7CF32-AE2E-6148-BE2F-AB0B974922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5" y="6534606"/>
            <a:ext cx="762000" cy="129429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6646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opyright © 2021 Enel S.p.A. All rights reserved. 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72578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edit Maste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B82541F-1236-6A4C-9032-972F737A9C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95C204D-177B-C440-8AAB-8A66C4D9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64825" y="6537600"/>
            <a:ext cx="762000" cy="12942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noProof="0" smtClean="0"/>
              <a:pPr/>
              <a:t>‹nº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961001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magine 7">
            <a:extLst>
              <a:ext uri="{FF2B5EF4-FFF2-40B4-BE49-F238E27FC236}">
                <a16:creationId xmlns:a16="http://schemas.microsoft.com/office/drawing/2014/main" id="{B156F0AC-10C7-0041-8651-6A0C9D81A2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4323" y="690091"/>
            <a:ext cx="996698" cy="362713"/>
          </a:xfrm>
          <a:prstGeom prst="rect">
            <a:avLst/>
          </a:prstGeom>
        </p:spPr>
      </p:pic>
      <p:sp>
        <p:nvSpPr>
          <p:cNvPr id="24" name="Rectangle 8">
            <a:extLst>
              <a:ext uri="{FF2B5EF4-FFF2-40B4-BE49-F238E27FC236}">
                <a16:creationId xmlns:a16="http://schemas.microsoft.com/office/drawing/2014/main" id="{2E91CA37-7707-4A40-BFCE-832DA5F3F4FE}"/>
              </a:ext>
            </a:extLst>
          </p:cNvPr>
          <p:cNvSpPr/>
          <p:nvPr userDrawn="1"/>
        </p:nvSpPr>
        <p:spPr>
          <a:xfrm rot="16200000">
            <a:off x="1000126" y="451967"/>
            <a:ext cx="190501" cy="66675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18000" tIns="18000" rIns="18000" bIns="18000" anchor="ctr"/>
          <a:lstStyle/>
          <a:p>
            <a:pPr algn="ctr">
              <a:defRPr sz="1800">
                <a:latin typeface="Arial"/>
                <a:ea typeface="Arial"/>
                <a:cs typeface="Arial"/>
                <a:sym typeface="Arial"/>
              </a:defRPr>
            </a:pPr>
            <a:endParaRPr sz="900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DC7D01B0-A845-EC41-9781-44CA5EF4D2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2001" y="1107652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90ED439-6E9B-464B-95F0-6EC67FD231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64825" y="6537600"/>
            <a:ext cx="762000" cy="12942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293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magine 7">
            <a:extLst>
              <a:ext uri="{FF2B5EF4-FFF2-40B4-BE49-F238E27FC236}">
                <a16:creationId xmlns:a16="http://schemas.microsoft.com/office/drawing/2014/main" id="{89AE7B80-CF34-3341-8071-099F4B944B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4323" y="690091"/>
            <a:ext cx="996698" cy="362713"/>
          </a:xfrm>
          <a:prstGeom prst="rect">
            <a:avLst/>
          </a:prstGeom>
        </p:spPr>
      </p:pic>
      <p:sp>
        <p:nvSpPr>
          <p:cNvPr id="25" name="Rectangle 8">
            <a:extLst>
              <a:ext uri="{FF2B5EF4-FFF2-40B4-BE49-F238E27FC236}">
                <a16:creationId xmlns:a16="http://schemas.microsoft.com/office/drawing/2014/main" id="{01DFB21A-DD09-2841-AB77-DB5F85C47A03}"/>
              </a:ext>
            </a:extLst>
          </p:cNvPr>
          <p:cNvSpPr/>
          <p:nvPr userDrawn="1"/>
        </p:nvSpPr>
        <p:spPr>
          <a:xfrm rot="16200000">
            <a:off x="1000126" y="451967"/>
            <a:ext cx="190501" cy="66675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18000" tIns="18000" rIns="18000" bIns="18000" anchor="ctr"/>
          <a:lstStyle/>
          <a:p>
            <a:pPr algn="ctr">
              <a:defRPr sz="1800">
                <a:latin typeface="Arial"/>
                <a:ea typeface="Arial"/>
                <a:cs typeface="Arial"/>
                <a:sym typeface="Arial"/>
              </a:defRPr>
            </a:pPr>
            <a:endParaRPr sz="900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FD296549-81E9-FB4E-BC44-EE9720636D5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2001" y="1107652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DA22E8A-6061-9941-8A0F-D7A65C809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64825" y="6537600"/>
            <a:ext cx="762000" cy="12942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813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3">
    <p:bg>
      <p:bgPr>
        <a:solidFill>
          <a:srgbClr val="0085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magine 7">
            <a:extLst>
              <a:ext uri="{FF2B5EF4-FFF2-40B4-BE49-F238E27FC236}">
                <a16:creationId xmlns:a16="http://schemas.microsoft.com/office/drawing/2014/main" id="{D3FED8A7-FC87-C247-96BD-49B62886C6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4323" y="690091"/>
            <a:ext cx="996698" cy="362713"/>
          </a:xfrm>
          <a:prstGeom prst="rect">
            <a:avLst/>
          </a:prstGeom>
        </p:spPr>
      </p:pic>
      <p:sp>
        <p:nvSpPr>
          <p:cNvPr id="24" name="Rectangle 8">
            <a:extLst>
              <a:ext uri="{FF2B5EF4-FFF2-40B4-BE49-F238E27FC236}">
                <a16:creationId xmlns:a16="http://schemas.microsoft.com/office/drawing/2014/main" id="{9EDCA231-FEAA-E341-AD22-A49570614E3A}"/>
              </a:ext>
            </a:extLst>
          </p:cNvPr>
          <p:cNvSpPr/>
          <p:nvPr userDrawn="1"/>
        </p:nvSpPr>
        <p:spPr>
          <a:xfrm rot="16200000">
            <a:off x="1000126" y="451967"/>
            <a:ext cx="190501" cy="66675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18000" tIns="18000" rIns="18000" bIns="18000" anchor="ctr"/>
          <a:lstStyle/>
          <a:p>
            <a:pPr algn="ctr">
              <a:defRPr sz="1800">
                <a:latin typeface="Arial"/>
                <a:ea typeface="Arial"/>
                <a:cs typeface="Arial"/>
                <a:sym typeface="Arial"/>
              </a:defRPr>
            </a:pPr>
            <a:endParaRPr sz="900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D5B532FE-4BB2-804F-8B34-6E2FCFC2DA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2001" y="1107652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76E7282-EBC0-2540-8969-0134240447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64825" y="6537600"/>
            <a:ext cx="762000" cy="12942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1136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">
            <a:extLst>
              <a:ext uri="{FF2B5EF4-FFF2-40B4-BE49-F238E27FC236}">
                <a16:creationId xmlns:a16="http://schemas.microsoft.com/office/drawing/2014/main" id="{21DA595B-42FE-C04D-B0E0-0903E4F781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1999" y="670121"/>
            <a:ext cx="8375651" cy="394980"/>
          </a:xfrm>
        </p:spPr>
        <p:txBody>
          <a:bodyPr/>
          <a:lstStyle/>
          <a:p>
            <a:r>
              <a:rPr lang="it-IT"/>
              <a:t>Agenda</a:t>
            </a:r>
            <a:endParaRPr lang="en-GB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6BF876CB-524A-EB4B-9B7D-B619C4D6C5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A1CA7DA0-B635-0E47-840F-9B4C076EC4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2328" y="1998986"/>
            <a:ext cx="5160533" cy="465244"/>
          </a:xfrm>
        </p:spPr>
        <p:txBody>
          <a:bodyPr/>
          <a:lstStyle>
            <a:lvl1pPr marL="0" indent="0">
              <a:buNone/>
              <a:defRPr sz="24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1. Click to add chapter title</a:t>
            </a:r>
            <a:endParaRPr lang="it-IT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367D588-0B3B-D049-920B-9ED7EA193C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2328" y="2480213"/>
            <a:ext cx="5160727" cy="293984"/>
          </a:xfrm>
        </p:spPr>
        <p:txBody>
          <a:bodyPr rIns="0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Click to edit subtitle if required</a:t>
            </a:r>
            <a:endParaRPr lang="en-US"/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723EF504-F6D3-3045-9B57-B9B7508743D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2328" y="3019291"/>
            <a:ext cx="5160533" cy="465244"/>
          </a:xfrm>
        </p:spPr>
        <p:txBody>
          <a:bodyPr/>
          <a:lstStyle>
            <a:lvl1pPr marL="0" indent="0">
              <a:buNone/>
              <a:defRPr sz="24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2. Click to add chapter title</a:t>
            </a:r>
            <a:endParaRPr lang="it-IT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60F7784-D662-BC4F-91D8-2D33211A20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2328" y="3500518"/>
            <a:ext cx="5160727" cy="293984"/>
          </a:xfrm>
        </p:spPr>
        <p:txBody>
          <a:bodyPr rIns="0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Click to edit subtitle if required</a:t>
            </a:r>
            <a:endParaRPr lang="en-US"/>
          </a:p>
        </p:txBody>
      </p:sp>
      <p:sp>
        <p:nvSpPr>
          <p:cNvPr id="22" name="Text Placeholder 23">
            <a:extLst>
              <a:ext uri="{FF2B5EF4-FFF2-40B4-BE49-F238E27FC236}">
                <a16:creationId xmlns:a16="http://schemas.microsoft.com/office/drawing/2014/main" id="{8DC4B8B3-BE4C-3B4C-A06C-AEA19F77E07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2328" y="4026683"/>
            <a:ext cx="5160533" cy="465244"/>
          </a:xfrm>
        </p:spPr>
        <p:txBody>
          <a:bodyPr/>
          <a:lstStyle>
            <a:lvl1pPr marL="0" indent="0">
              <a:buNone/>
              <a:defRPr sz="24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3. Click to add chapter title</a:t>
            </a:r>
            <a:endParaRPr lang="it-IT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86E480EE-5BBD-AF49-BEE1-ABC98E1A796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2328" y="4507910"/>
            <a:ext cx="5160727" cy="293984"/>
          </a:xfrm>
        </p:spPr>
        <p:txBody>
          <a:bodyPr rIns="0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Click to edit subtitle if required</a:t>
            </a:r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651544D9-EF30-A040-889B-526F140563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2328" y="5034071"/>
            <a:ext cx="5160533" cy="465244"/>
          </a:xfrm>
        </p:spPr>
        <p:txBody>
          <a:bodyPr/>
          <a:lstStyle>
            <a:lvl1pPr marL="0" indent="0">
              <a:buNone/>
              <a:defRPr sz="24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4. Click to add chapter title</a:t>
            </a:r>
            <a:endParaRPr lang="it-IT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AE803D4F-4B1C-B643-832A-05F08C35315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2328" y="5515298"/>
            <a:ext cx="5160727" cy="293984"/>
          </a:xfrm>
        </p:spPr>
        <p:txBody>
          <a:bodyPr rIns="0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Click to edit subtitle if required</a:t>
            </a:r>
            <a:endParaRPr lang="en-US"/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617FD578-689F-024F-8998-5C860ACF0D1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05630" y="1996403"/>
            <a:ext cx="5160533" cy="465244"/>
          </a:xfrm>
        </p:spPr>
        <p:txBody>
          <a:bodyPr/>
          <a:lstStyle>
            <a:lvl1pPr marL="0" indent="0">
              <a:buNone/>
              <a:defRPr sz="24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5. Click to add chapter title</a:t>
            </a:r>
            <a:endParaRPr lang="it-IT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A7DCCB2-1A16-2145-AEAA-B8E3E39BBA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05630" y="2477630"/>
            <a:ext cx="5160727" cy="293984"/>
          </a:xfrm>
        </p:spPr>
        <p:txBody>
          <a:bodyPr rIns="0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Click to edit subtitle if required</a:t>
            </a:r>
            <a:endParaRPr lang="en-US"/>
          </a:p>
        </p:txBody>
      </p:sp>
      <p:sp>
        <p:nvSpPr>
          <p:cNvPr id="32" name="Text Placeholder 23">
            <a:extLst>
              <a:ext uri="{FF2B5EF4-FFF2-40B4-BE49-F238E27FC236}">
                <a16:creationId xmlns:a16="http://schemas.microsoft.com/office/drawing/2014/main" id="{BC897CB6-3D6F-CA47-BBFE-A3EBA65502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05630" y="3016708"/>
            <a:ext cx="5160533" cy="465244"/>
          </a:xfrm>
        </p:spPr>
        <p:txBody>
          <a:bodyPr/>
          <a:lstStyle>
            <a:lvl1pPr marL="0" indent="0">
              <a:buNone/>
              <a:defRPr sz="24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6. Click to add chapter title</a:t>
            </a:r>
            <a:endParaRPr lang="it-IT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B9F32A43-9C23-524B-B7EA-6B9CB7BE80F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05630" y="3497935"/>
            <a:ext cx="5160727" cy="293984"/>
          </a:xfrm>
        </p:spPr>
        <p:txBody>
          <a:bodyPr rIns="0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Click to edit subtitle if required</a:t>
            </a:r>
            <a:endParaRPr lang="en-US"/>
          </a:p>
        </p:txBody>
      </p:sp>
      <p:sp>
        <p:nvSpPr>
          <p:cNvPr id="34" name="Text Placeholder 23">
            <a:extLst>
              <a:ext uri="{FF2B5EF4-FFF2-40B4-BE49-F238E27FC236}">
                <a16:creationId xmlns:a16="http://schemas.microsoft.com/office/drawing/2014/main" id="{E16B8EB3-C8EE-AC4F-AD72-5BC945B30C6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05630" y="4024100"/>
            <a:ext cx="5160533" cy="465244"/>
          </a:xfrm>
        </p:spPr>
        <p:txBody>
          <a:bodyPr/>
          <a:lstStyle>
            <a:lvl1pPr marL="0" indent="0">
              <a:buNone/>
              <a:defRPr sz="24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7. Click to add chapter title</a:t>
            </a:r>
            <a:endParaRPr lang="it-IT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6EBFFE72-5316-F540-B15C-EF6141109B0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05630" y="4505327"/>
            <a:ext cx="5160727" cy="293984"/>
          </a:xfrm>
        </p:spPr>
        <p:txBody>
          <a:bodyPr rIns="0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Click to edit subtitle if required</a:t>
            </a:r>
            <a:endParaRPr lang="en-US"/>
          </a:p>
        </p:txBody>
      </p:sp>
      <p:sp>
        <p:nvSpPr>
          <p:cNvPr id="36" name="Text Placeholder 23">
            <a:extLst>
              <a:ext uri="{FF2B5EF4-FFF2-40B4-BE49-F238E27FC236}">
                <a16:creationId xmlns:a16="http://schemas.microsoft.com/office/drawing/2014/main" id="{4F53C41C-D748-1746-9D56-7AFD32BE76C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05630" y="5031488"/>
            <a:ext cx="5160533" cy="465244"/>
          </a:xfrm>
        </p:spPr>
        <p:txBody>
          <a:bodyPr/>
          <a:lstStyle>
            <a:lvl1pPr marL="0" indent="0">
              <a:buNone/>
              <a:defRPr sz="24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8. Click to add chapter title</a:t>
            </a:r>
            <a:endParaRPr lang="it-IT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B97DDE32-4020-FC49-BE05-F767FA6C9C9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05630" y="5512715"/>
            <a:ext cx="5160727" cy="293984"/>
          </a:xfrm>
        </p:spPr>
        <p:txBody>
          <a:bodyPr rIns="0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Click to edit subtitle if required</a:t>
            </a:r>
            <a:endParaRPr lang="en-US"/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90F4F9C2-E60F-8B44-8836-ECE24F48F6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64825" y="6537600"/>
            <a:ext cx="762000" cy="12942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noProof="0" smtClean="0"/>
              <a:pPr/>
              <a:t>‹nº›</a:t>
            </a:fld>
            <a:endParaRPr lang="en-GB" noProof="0" dirty="0"/>
          </a:p>
        </p:txBody>
      </p: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F2B1E328-CCAD-F941-AC2D-F921588468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055264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07B42C86-015E-F848-B548-8EFBFC461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1999" y="670121"/>
            <a:ext cx="8375651" cy="39498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it-IT"/>
              <a:t>Agenda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0DB1EC3-63BA-7841-8C96-E417130DD44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A1CA7DA0-B635-0E47-840F-9B4C076EC4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2329" y="1988820"/>
            <a:ext cx="1053481" cy="807720"/>
          </a:xfrm>
        </p:spPr>
        <p:txBody>
          <a:bodyPr anchor="ctr"/>
          <a:lstStyle>
            <a:lvl1pPr marL="0" indent="0" algn="r">
              <a:buNone/>
              <a:defRPr sz="4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1</a:t>
            </a:r>
            <a:endParaRPr lang="it-IT"/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37E40C95-74BB-C545-8620-3C91D1FB87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80125" y="2007704"/>
            <a:ext cx="3800404" cy="785192"/>
          </a:xfrm>
        </p:spPr>
        <p:txBody>
          <a:bodyPr anchor="ctr"/>
          <a:lstStyle>
            <a:lvl1pPr marL="0" indent="0"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0E7AA31F-1C02-4D48-BA95-4C061F108BC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3365" y="2988385"/>
            <a:ext cx="1053481" cy="807720"/>
          </a:xfrm>
        </p:spPr>
        <p:txBody>
          <a:bodyPr anchor="ctr"/>
          <a:lstStyle>
            <a:lvl1pPr marL="0" indent="0" algn="r">
              <a:buNone/>
              <a:defRPr sz="4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2</a:t>
            </a:r>
            <a:endParaRPr lang="it-IT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70D20617-CFC6-B94F-99C8-9605979CEEC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71161" y="3007269"/>
            <a:ext cx="3800404" cy="785192"/>
          </a:xfrm>
        </p:spPr>
        <p:txBody>
          <a:bodyPr anchor="ctr"/>
          <a:lstStyle>
            <a:lvl1pPr marL="0" indent="0"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4659BF7E-FBF5-1041-98FF-92711B48F1D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59917" y="3996914"/>
            <a:ext cx="1053481" cy="807720"/>
          </a:xfrm>
        </p:spPr>
        <p:txBody>
          <a:bodyPr anchor="ctr"/>
          <a:lstStyle>
            <a:lvl1pPr marL="0" indent="0" algn="r">
              <a:buNone/>
              <a:defRPr sz="4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3</a:t>
            </a:r>
            <a:endParaRPr lang="it-IT"/>
          </a:p>
        </p:txBody>
      </p: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D8DB8A7E-2299-8B49-9689-75E3B1C383D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57713" y="4015798"/>
            <a:ext cx="3800404" cy="785192"/>
          </a:xfrm>
        </p:spPr>
        <p:txBody>
          <a:bodyPr anchor="ctr"/>
          <a:lstStyle>
            <a:lvl1pPr marL="0" indent="0"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44" name="Text Placeholder 23">
            <a:extLst>
              <a:ext uri="{FF2B5EF4-FFF2-40B4-BE49-F238E27FC236}">
                <a16:creationId xmlns:a16="http://schemas.microsoft.com/office/drawing/2014/main" id="{DD349463-B21B-F04A-BDF1-12BEB8B9D90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64399" y="4996478"/>
            <a:ext cx="1053481" cy="807720"/>
          </a:xfrm>
        </p:spPr>
        <p:txBody>
          <a:bodyPr anchor="ctr"/>
          <a:lstStyle>
            <a:lvl1pPr marL="0" indent="0" algn="r">
              <a:buNone/>
              <a:defRPr sz="4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4</a:t>
            </a:r>
            <a:endParaRPr lang="it-IT"/>
          </a:p>
        </p:txBody>
      </p:sp>
      <p:sp>
        <p:nvSpPr>
          <p:cNvPr id="45" name="Text Placeholder 23">
            <a:extLst>
              <a:ext uri="{FF2B5EF4-FFF2-40B4-BE49-F238E27FC236}">
                <a16:creationId xmlns:a16="http://schemas.microsoft.com/office/drawing/2014/main" id="{1F086754-EFB1-0349-B2C9-DE00E759668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762195" y="5015362"/>
            <a:ext cx="3800404" cy="785192"/>
          </a:xfrm>
        </p:spPr>
        <p:txBody>
          <a:bodyPr anchor="ctr"/>
          <a:lstStyle>
            <a:lvl1pPr marL="0" indent="0"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38" name="Text Placeholder 23">
            <a:extLst>
              <a:ext uri="{FF2B5EF4-FFF2-40B4-BE49-F238E27FC236}">
                <a16:creationId xmlns:a16="http://schemas.microsoft.com/office/drawing/2014/main" id="{BE80DF37-1EDC-A943-AC1C-5DDB1FEEEF4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482494" y="2006750"/>
            <a:ext cx="1053481" cy="807720"/>
          </a:xfrm>
        </p:spPr>
        <p:txBody>
          <a:bodyPr anchor="ctr"/>
          <a:lstStyle>
            <a:lvl1pPr marL="0" indent="0" algn="r">
              <a:buNone/>
              <a:defRPr sz="4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5</a:t>
            </a:r>
            <a:endParaRPr lang="it-IT"/>
          </a:p>
        </p:txBody>
      </p:sp>
      <p:sp>
        <p:nvSpPr>
          <p:cNvPr id="39" name="Text Placeholder 23">
            <a:extLst>
              <a:ext uri="{FF2B5EF4-FFF2-40B4-BE49-F238E27FC236}">
                <a16:creationId xmlns:a16="http://schemas.microsoft.com/office/drawing/2014/main" id="{F96F6BD7-3ECA-7F4E-9086-B6A180AF50C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80290" y="2025634"/>
            <a:ext cx="3800404" cy="785192"/>
          </a:xfrm>
        </p:spPr>
        <p:txBody>
          <a:bodyPr anchor="ctr"/>
          <a:lstStyle>
            <a:lvl1pPr marL="0" indent="0"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40" name="Text Placeholder 23">
            <a:extLst>
              <a:ext uri="{FF2B5EF4-FFF2-40B4-BE49-F238E27FC236}">
                <a16:creationId xmlns:a16="http://schemas.microsoft.com/office/drawing/2014/main" id="{6A26439D-DBE8-BC40-A3C1-A23681C1DBC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73530" y="3006315"/>
            <a:ext cx="1053481" cy="807720"/>
          </a:xfrm>
        </p:spPr>
        <p:txBody>
          <a:bodyPr anchor="ctr"/>
          <a:lstStyle>
            <a:lvl1pPr marL="0" indent="0" algn="r">
              <a:buNone/>
              <a:defRPr sz="4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6</a:t>
            </a:r>
            <a:endParaRPr lang="it-IT"/>
          </a:p>
        </p:txBody>
      </p:sp>
      <p:sp>
        <p:nvSpPr>
          <p:cNvPr id="41" name="Text Placeholder 23">
            <a:extLst>
              <a:ext uri="{FF2B5EF4-FFF2-40B4-BE49-F238E27FC236}">
                <a16:creationId xmlns:a16="http://schemas.microsoft.com/office/drawing/2014/main" id="{4A64148E-AA23-764D-BE27-34E645531A7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71326" y="3025199"/>
            <a:ext cx="3800404" cy="785192"/>
          </a:xfrm>
        </p:spPr>
        <p:txBody>
          <a:bodyPr anchor="ctr"/>
          <a:lstStyle>
            <a:lvl1pPr marL="0" indent="0"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42" name="Text Placeholder 23">
            <a:extLst>
              <a:ext uri="{FF2B5EF4-FFF2-40B4-BE49-F238E27FC236}">
                <a16:creationId xmlns:a16="http://schemas.microsoft.com/office/drawing/2014/main" id="{AED8B25A-8E3F-AB47-87AA-B62E337DF00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60082" y="4014844"/>
            <a:ext cx="1053481" cy="807720"/>
          </a:xfrm>
        </p:spPr>
        <p:txBody>
          <a:bodyPr anchor="ctr"/>
          <a:lstStyle>
            <a:lvl1pPr marL="0" indent="0" algn="r">
              <a:buNone/>
              <a:defRPr sz="4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7</a:t>
            </a:r>
            <a:endParaRPr lang="it-IT"/>
          </a:p>
        </p:txBody>
      </p:sp>
      <p:sp>
        <p:nvSpPr>
          <p:cNvPr id="43" name="Text Placeholder 23">
            <a:extLst>
              <a:ext uri="{FF2B5EF4-FFF2-40B4-BE49-F238E27FC236}">
                <a16:creationId xmlns:a16="http://schemas.microsoft.com/office/drawing/2014/main" id="{BC40AB15-B73E-374D-B193-DE689CB7B40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57878" y="4033728"/>
            <a:ext cx="3800404" cy="785192"/>
          </a:xfrm>
        </p:spPr>
        <p:txBody>
          <a:bodyPr anchor="ctr"/>
          <a:lstStyle>
            <a:lvl1pPr marL="0" indent="0"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46" name="Text Placeholder 23">
            <a:extLst>
              <a:ext uri="{FF2B5EF4-FFF2-40B4-BE49-F238E27FC236}">
                <a16:creationId xmlns:a16="http://schemas.microsoft.com/office/drawing/2014/main" id="{1F623258-E515-C645-A6F9-170CF05FC69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438364" y="4985618"/>
            <a:ext cx="1053481" cy="807720"/>
          </a:xfrm>
        </p:spPr>
        <p:txBody>
          <a:bodyPr anchor="ctr"/>
          <a:lstStyle>
            <a:lvl1pPr marL="0" indent="0" algn="r">
              <a:buNone/>
              <a:defRPr sz="4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8</a:t>
            </a:r>
            <a:endParaRPr lang="it-IT"/>
          </a:p>
        </p:txBody>
      </p:sp>
      <p:sp>
        <p:nvSpPr>
          <p:cNvPr id="47" name="Text Placeholder 23">
            <a:extLst>
              <a:ext uri="{FF2B5EF4-FFF2-40B4-BE49-F238E27FC236}">
                <a16:creationId xmlns:a16="http://schemas.microsoft.com/office/drawing/2014/main" id="{D6EACFA3-C561-1040-AB40-D83DB26EE0C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36160" y="5004502"/>
            <a:ext cx="3800404" cy="785192"/>
          </a:xfrm>
        </p:spPr>
        <p:txBody>
          <a:bodyPr anchor="ctr"/>
          <a:lstStyle>
            <a:lvl1pPr marL="0" indent="0"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16C9F872-7765-FC45-9731-D8D2E96787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499FE0F-64FB-D244-9E6C-82A29EBAAC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64825" y="6537600"/>
            <a:ext cx="762000" cy="12942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noProof="0" smtClean="0"/>
              <a:pPr/>
              <a:t>‹nº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661014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8">
            <a:extLst>
              <a:ext uri="{FF2B5EF4-FFF2-40B4-BE49-F238E27FC236}">
                <a16:creationId xmlns:a16="http://schemas.microsoft.com/office/drawing/2014/main" id="{9EDCA231-FEAA-E341-AD22-A49570614E3A}"/>
              </a:ext>
            </a:extLst>
          </p:cNvPr>
          <p:cNvSpPr/>
          <p:nvPr userDrawn="1"/>
        </p:nvSpPr>
        <p:spPr>
          <a:xfrm rot="16200000">
            <a:off x="1000126" y="451967"/>
            <a:ext cx="190501" cy="66675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18000" tIns="18000" rIns="18000" bIns="18000" anchor="ctr"/>
          <a:lstStyle/>
          <a:p>
            <a:pPr marL="0" indent="0" algn="ctr">
              <a:buFont typeface="Arial" panose="020B0604020202020204" pitchFamily="34" charset="0"/>
              <a:buNone/>
              <a:defRPr sz="1800">
                <a:latin typeface="Arial"/>
                <a:ea typeface="Arial"/>
                <a:cs typeface="Arial"/>
                <a:sym typeface="Arial"/>
              </a:defRPr>
            </a:pPr>
            <a:endParaRPr sz="900" dirty="0"/>
          </a:p>
        </p:txBody>
      </p:sp>
      <p:pic>
        <p:nvPicPr>
          <p:cNvPr id="23" name="Immagine 7">
            <a:extLst>
              <a:ext uri="{FF2B5EF4-FFF2-40B4-BE49-F238E27FC236}">
                <a16:creationId xmlns:a16="http://schemas.microsoft.com/office/drawing/2014/main" id="{D3FED8A7-FC87-C247-96BD-49B62886C6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4323" y="690091"/>
            <a:ext cx="996698" cy="362713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D5B532FE-4BB2-804F-8B34-6E2FCFC2DA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2001" y="1107652"/>
            <a:ext cx="2303928" cy="1368425"/>
          </a:xfrm>
        </p:spPr>
        <p:txBody>
          <a:bodyPr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</a:lstStyle>
          <a:p>
            <a:r>
              <a:rPr lang="it-IT"/>
              <a:t>Agenda</a:t>
            </a:r>
            <a:endParaRPr lang="en-GB"/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ECDCD36B-198B-7744-ADE1-13CBA89DA3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74519" y="1025115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1</a:t>
            </a:r>
            <a:endParaRPr lang="it-IT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5CC33B5A-B625-A54F-A45C-E9D5108164C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183103" y="1877716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7CF6386B-13E0-8B47-A639-6531D08AF77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54966" y="1002703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2</a:t>
            </a:r>
            <a:endParaRPr lang="it-IT"/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319389D0-704A-EE47-8594-0DFA91F3719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863550" y="1855304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DAC9A943-3D52-5C48-A5B7-2FDD4E43A6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557825" y="1002703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3</a:t>
            </a:r>
            <a:endParaRPr lang="it-IT"/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0AB4821B-339B-014F-99B6-EE5C5559A6E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566409" y="1855304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9C341713-23F4-4E4D-B663-65E9405BC76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83483" y="2741856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4</a:t>
            </a:r>
            <a:endParaRPr lang="it-IT"/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5EB38375-3C03-CF4D-86C8-DFF3A0F01AD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92067" y="3594457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4D2A2C20-FE41-6942-9269-4869B6457F5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63930" y="2719444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5</a:t>
            </a:r>
            <a:endParaRPr lang="it-IT"/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4FC30061-5622-E34A-9DE1-7B51E1442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72514" y="3572045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61AF714C-7A9C-234B-807C-4F664CF69AE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566789" y="2719444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6</a:t>
            </a:r>
            <a:endParaRPr lang="it-IT"/>
          </a:p>
        </p:txBody>
      </p:sp>
      <p:sp>
        <p:nvSpPr>
          <p:cNvPr id="16" name="Text Placeholder 23">
            <a:extLst>
              <a:ext uri="{FF2B5EF4-FFF2-40B4-BE49-F238E27FC236}">
                <a16:creationId xmlns:a16="http://schemas.microsoft.com/office/drawing/2014/main" id="{B51BA56C-7F8E-284E-922F-1A2D37BDCB5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75373" y="3572045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17" name="Text Placeholder 23">
            <a:extLst>
              <a:ext uri="{FF2B5EF4-FFF2-40B4-BE49-F238E27FC236}">
                <a16:creationId xmlns:a16="http://schemas.microsoft.com/office/drawing/2014/main" id="{0C7E36D2-D399-5D42-9322-EC2A11E0E6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187966" y="4427221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7</a:t>
            </a:r>
            <a:endParaRPr lang="it-IT"/>
          </a:p>
        </p:txBody>
      </p:sp>
      <p:sp>
        <p:nvSpPr>
          <p:cNvPr id="18" name="Text Placeholder 23">
            <a:extLst>
              <a:ext uri="{FF2B5EF4-FFF2-40B4-BE49-F238E27FC236}">
                <a16:creationId xmlns:a16="http://schemas.microsoft.com/office/drawing/2014/main" id="{F8D3647E-5355-944C-BEBF-9803EFACE72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196550" y="5279822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19" name="Text Placeholder 23">
            <a:extLst>
              <a:ext uri="{FF2B5EF4-FFF2-40B4-BE49-F238E27FC236}">
                <a16:creationId xmlns:a16="http://schemas.microsoft.com/office/drawing/2014/main" id="{6979AA52-9D67-7D41-9282-B494968C5CC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868413" y="4404809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8</a:t>
            </a:r>
            <a:endParaRPr lang="it-IT"/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046EFCC6-89EE-114C-97E0-95029AC0D1E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76997" y="5257410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21" name="Text Placeholder 23">
            <a:extLst>
              <a:ext uri="{FF2B5EF4-FFF2-40B4-BE49-F238E27FC236}">
                <a16:creationId xmlns:a16="http://schemas.microsoft.com/office/drawing/2014/main" id="{2C4F6283-BA22-EF46-82D1-7402865AC7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571272" y="4404809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09</a:t>
            </a:r>
            <a:endParaRPr lang="it-IT"/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466760D3-98A2-634C-BE39-7A199F1EB0A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579856" y="5257410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add chapter title in max. 2 lines</a:t>
            </a:r>
            <a:endParaRPr lang="it-IT"/>
          </a:p>
        </p:txBody>
      </p:sp>
      <p:sp>
        <p:nvSpPr>
          <p:cNvPr id="33" name="Footer Placeholder 4">
            <a:extLst>
              <a:ext uri="{FF2B5EF4-FFF2-40B4-BE49-F238E27FC236}">
                <a16:creationId xmlns:a16="http://schemas.microsoft.com/office/drawing/2014/main" id="{F6ECFAC0-7B41-AB44-8AF8-40ADEFDC4C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DEFB0CC8-38D1-AE40-A9CA-DC6A31E237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64825" y="6537600"/>
            <a:ext cx="762000" cy="12942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37511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77ECBA26-852D-5F8D-19A8-BC0EFBDE87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391575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27" imgW="444" imgH="446" progId="TCLayout.ActiveDocument.1">
                  <p:embed/>
                </p:oleObj>
              </mc:Choice>
              <mc:Fallback>
                <p:oleObj name="Slide do think-cell" r:id="rId27" imgW="444" imgH="446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77ECBA26-852D-5F8D-19A8-BC0EFBDE87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magine 5">
            <a:extLst>
              <a:ext uri="{FF2B5EF4-FFF2-40B4-BE49-F238E27FC236}">
                <a16:creationId xmlns:a16="http://schemas.microsoft.com/office/drawing/2014/main" id="{D38DA18B-41A5-BA47-AD36-2B79774F7B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356" y="693202"/>
            <a:ext cx="996698" cy="362713"/>
          </a:xfrm>
          <a:prstGeom prst="rect">
            <a:avLst/>
          </a:prstGeom>
        </p:spPr>
      </p:pic>
      <p:sp>
        <p:nvSpPr>
          <p:cNvPr id="10" name="Rectangle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3225" y="688975"/>
            <a:ext cx="196850" cy="682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1999" y="670121"/>
            <a:ext cx="8375651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GB"/>
              <a:t>Click to edit Master Tit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1999" y="1519085"/>
            <a:ext cx="10664825" cy="4646766"/>
          </a:xfrm>
          <a:prstGeom prst="rect">
            <a:avLst/>
          </a:prstGeom>
        </p:spPr>
        <p:txBody>
          <a:bodyPr vert="horz" wrap="square" lIns="0" tIns="0" rIns="18000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F70F753-BBB5-E84C-801B-39BA68C827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64825" y="6537600"/>
            <a:ext cx="762000" cy="12942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noProof="0" smtClean="0"/>
              <a:pPr/>
              <a:t>‹nº›</a:t>
            </a:fld>
            <a:endParaRPr lang="en-GB" noProof="0" dirty="0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9C3856EF-F18C-03DF-BC78-8182B22F3031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844350" y="63500"/>
            <a:ext cx="5318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245193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5750" marR="0" indent="-2857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-"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Lucida Grande"/>
        <a:buNone/>
        <a:tabLst>
          <a:tab pos="1057275" algn="l"/>
        </a:tabLst>
        <a:defRPr sz="18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marR="0" indent="-2857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-"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1338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541338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8">
          <p15:clr>
            <a:srgbClr val="F26B43"/>
          </p15:clr>
        </p15:guide>
        <p15:guide id="7" pos="2398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0">
          <p15:clr>
            <a:srgbClr val="F26B43"/>
          </p15:clr>
        </p15:guide>
        <p15:guide id="11" pos="4798">
          <p15:clr>
            <a:srgbClr val="F26B43"/>
          </p15:clr>
        </p15:guide>
        <p15:guide id="12" pos="5278">
          <p15:clr>
            <a:srgbClr val="F26B43"/>
          </p15:clr>
        </p15:guide>
        <p15:guide id="13" pos="5756">
          <p15:clr>
            <a:srgbClr val="F26B43"/>
          </p15:clr>
        </p15:guide>
        <p15:guide id="14" pos="6236">
          <p15:clr>
            <a:srgbClr val="F26B43"/>
          </p15:clr>
        </p15:guide>
        <p15:guide id="15" pos="6718">
          <p15:clr>
            <a:srgbClr val="F26B43"/>
          </p15:clr>
        </p15:guide>
        <p15:guide id="16" pos="7197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5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87D0A9-E2A1-B9F0-C187-8B0B323538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A47CCEF6-66D9-6936-6A9F-771881C0F1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8970" y="1671486"/>
            <a:ext cx="5147791" cy="4515368"/>
          </a:xfrm>
          <a:prstGeom prst="rect">
            <a:avLst/>
          </a:prstGeom>
        </p:spPr>
      </p:pic>
      <p:sp>
        <p:nvSpPr>
          <p:cNvPr id="30" name="Rectangle 44">
            <a:extLst>
              <a:ext uri="{FF2B5EF4-FFF2-40B4-BE49-F238E27FC236}">
                <a16:creationId xmlns:a16="http://schemas.microsoft.com/office/drawing/2014/main" id="{DC30C31E-38AE-0B4C-2FFF-87C08DD290AA}"/>
              </a:ext>
            </a:extLst>
          </p:cNvPr>
          <p:cNvSpPr/>
          <p:nvPr/>
        </p:nvSpPr>
        <p:spPr>
          <a:xfrm>
            <a:off x="268876" y="1776240"/>
            <a:ext cx="4801237" cy="433395"/>
          </a:xfrm>
          <a:prstGeom prst="snip1Rect">
            <a:avLst>
              <a:gd name="adj" fmla="val 19561"/>
            </a:avLst>
          </a:prstGeom>
          <a:gradFill flip="none" rotWithShape="1">
            <a:gsLst>
              <a:gs pos="0">
                <a:sysClr val="window" lastClr="FFFFFF"/>
              </a:gs>
              <a:gs pos="97000">
                <a:srgbClr val="41B9E6">
                  <a:lumMod val="20000"/>
                  <a:lumOff val="8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38" name="think-cell data - do not delete" hidden="1">
            <a:extLst>
              <a:ext uri="{FF2B5EF4-FFF2-40B4-BE49-F238E27FC236}">
                <a16:creationId xmlns:a16="http://schemas.microsoft.com/office/drawing/2014/main" id="{98471A9B-E376-611B-AD60-663949DF9A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347" imgH="348" progId="TCLayout.ActiveDocument.1">
                  <p:embed/>
                </p:oleObj>
              </mc:Choice>
              <mc:Fallback>
                <p:oleObj name="Slide do think-cell" r:id="rId5" imgW="347" imgH="348" progId="TCLayout.ActiveDocument.1">
                  <p:embed/>
                  <p:pic>
                    <p:nvPicPr>
                      <p:cNvPr id="3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471A9B-E376-611B-AD60-663949DF9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3">
            <a:extLst>
              <a:ext uri="{FF2B5EF4-FFF2-40B4-BE49-F238E27FC236}">
                <a16:creationId xmlns:a16="http://schemas.microsoft.com/office/drawing/2014/main" id="{1174CB11-9278-7657-6218-3CB70CC1C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670121"/>
            <a:ext cx="8213538" cy="387335"/>
          </a:xfrm>
        </p:spPr>
        <p:txBody>
          <a:bodyPr vert="horz"/>
          <a:lstStyle/>
          <a:p>
            <a:r>
              <a:rPr lang="pt-BR" dirty="0"/>
              <a:t>Preenchimento Formulário de Solicitação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A934D44E-2E59-27EA-E8F7-756FBC67A8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1999" y="1095361"/>
            <a:ext cx="4901382" cy="285355"/>
          </a:xfrm>
        </p:spPr>
        <p:txBody>
          <a:bodyPr/>
          <a:lstStyle/>
          <a:p>
            <a:r>
              <a:rPr lang="pt-BR" dirty="0"/>
              <a:t>Passo a passo</a:t>
            </a:r>
          </a:p>
        </p:txBody>
      </p:sp>
      <p:sp>
        <p:nvSpPr>
          <p:cNvPr id="9" name="Espaço Reservado para Número de Slide 3">
            <a:extLst>
              <a:ext uri="{FF2B5EF4-FFF2-40B4-BE49-F238E27FC236}">
                <a16:creationId xmlns:a16="http://schemas.microsoft.com/office/drawing/2014/main" id="{7597A4DD-9CD2-5E1D-C086-E3BE510D7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42" y="6624862"/>
            <a:ext cx="747251" cy="126924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2235E-0982-3B42-A838-A74550CD4449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A1664637-B4E8-E974-1098-CD4354204ADA}"/>
              </a:ext>
            </a:extLst>
          </p:cNvPr>
          <p:cNvSpPr txBox="1"/>
          <p:nvPr/>
        </p:nvSpPr>
        <p:spPr>
          <a:xfrm>
            <a:off x="329359" y="2939617"/>
            <a:ext cx="4291801" cy="17894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Ao localizer o arquivo em uma pasta do windows, clicar com mouse sobre o arquivo (botão direito) e selecionar a opção “Propriedades”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Marque a opção </a:t>
            </a:r>
            <a:r>
              <a:rPr lang="en-US" sz="1200" b="1" u="sng" dirty="0">
                <a:solidFill>
                  <a:srgbClr val="000000"/>
                </a:solidFill>
                <a:latin typeface="Arial"/>
              </a:rPr>
              <a:t>Desbloquear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Clique no botão </a:t>
            </a:r>
            <a:r>
              <a:rPr lang="pt-BR" sz="1200" b="1" u="sng" dirty="0">
                <a:solidFill>
                  <a:srgbClr val="000000"/>
                </a:solidFill>
                <a:latin typeface="Arial"/>
              </a:rPr>
              <a:t>Aplicar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903F0D06-1033-4223-E5FA-5CCE42CE2685}"/>
              </a:ext>
            </a:extLst>
          </p:cNvPr>
          <p:cNvSpPr txBox="1"/>
          <p:nvPr/>
        </p:nvSpPr>
        <p:spPr>
          <a:xfrm>
            <a:off x="420278" y="1788946"/>
            <a:ext cx="480123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sng" strike="noStrike" kern="0" cap="none" spc="0" normalizeH="0" baseline="0" noProof="0" dirty="0">
                <a:ln>
                  <a:noFill/>
                </a:ln>
                <a:solidFill>
                  <a:srgbClr val="157EA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– Desbloquear o conteúdo do arquivo no primeiro uso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5EDC81E8-3304-0CFC-45F7-23FA077CD350}"/>
              </a:ext>
            </a:extLst>
          </p:cNvPr>
          <p:cNvSpPr txBox="1"/>
          <p:nvPr/>
        </p:nvSpPr>
        <p:spPr>
          <a:xfrm>
            <a:off x="10943302" y="5191432"/>
            <a:ext cx="39329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t-BR" sz="2000" b="1" dirty="0"/>
              <a:t>1</a:t>
            </a:r>
          </a:p>
        </p:txBody>
      </p:sp>
      <p:sp>
        <p:nvSpPr>
          <p:cNvPr id="20" name="Retângulo: Cantos Arredondados 19">
            <a:extLst>
              <a:ext uri="{FF2B5EF4-FFF2-40B4-BE49-F238E27FC236}">
                <a16:creationId xmlns:a16="http://schemas.microsoft.com/office/drawing/2014/main" id="{2B562D9E-5C52-64BD-CF5F-D811E8E93691}"/>
              </a:ext>
            </a:extLst>
          </p:cNvPr>
          <p:cNvSpPr/>
          <p:nvPr/>
        </p:nvSpPr>
        <p:spPr>
          <a:xfrm>
            <a:off x="10019071" y="5329084"/>
            <a:ext cx="973394" cy="255640"/>
          </a:xfrm>
          <a:prstGeom prst="roundRect">
            <a:avLst/>
          </a:prstGeom>
          <a:noFill/>
          <a:ln w="571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pt-BR" sz="2000" dirty="0"/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143128E5-82BF-5E59-DF69-954117EE4D12}"/>
              </a:ext>
            </a:extLst>
          </p:cNvPr>
          <p:cNvSpPr txBox="1"/>
          <p:nvPr/>
        </p:nvSpPr>
        <p:spPr>
          <a:xfrm>
            <a:off x="10972802" y="5860026"/>
            <a:ext cx="39329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t-BR" sz="2000" b="1" dirty="0"/>
              <a:t>2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A810AD06-2214-A1BF-B63B-1382140AD760}"/>
              </a:ext>
            </a:extLst>
          </p:cNvPr>
          <p:cNvSpPr txBox="1"/>
          <p:nvPr/>
        </p:nvSpPr>
        <p:spPr>
          <a:xfrm>
            <a:off x="6676103" y="6341806"/>
            <a:ext cx="509311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t-BR" sz="1400" dirty="0"/>
              <a:t>Desbloqueando o arquivo para execução das macros</a:t>
            </a:r>
          </a:p>
        </p:txBody>
      </p:sp>
      <p:sp>
        <p:nvSpPr>
          <p:cNvPr id="13" name="Retângulo: Cantos Arredondados 12">
            <a:extLst>
              <a:ext uri="{FF2B5EF4-FFF2-40B4-BE49-F238E27FC236}">
                <a16:creationId xmlns:a16="http://schemas.microsoft.com/office/drawing/2014/main" id="{77D028F6-580D-BA6B-66E0-D77FA831D504}"/>
              </a:ext>
            </a:extLst>
          </p:cNvPr>
          <p:cNvSpPr/>
          <p:nvPr/>
        </p:nvSpPr>
        <p:spPr>
          <a:xfrm>
            <a:off x="10284542" y="5889522"/>
            <a:ext cx="717755" cy="255639"/>
          </a:xfrm>
          <a:prstGeom prst="roundRect">
            <a:avLst/>
          </a:prstGeom>
          <a:noFill/>
          <a:ln w="571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pt-BR" sz="2000" dirty="0"/>
          </a:p>
        </p:txBody>
      </p:sp>
    </p:spTree>
    <p:extLst>
      <p:ext uri="{BB962C8B-B14F-4D97-AF65-F5344CB8AC3E}">
        <p14:creationId xmlns:p14="http://schemas.microsoft.com/office/powerpoint/2010/main" val="18055023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5E1E00-1FD3-4586-32B5-8B760FD5DC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44">
            <a:extLst>
              <a:ext uri="{FF2B5EF4-FFF2-40B4-BE49-F238E27FC236}">
                <a16:creationId xmlns:a16="http://schemas.microsoft.com/office/drawing/2014/main" id="{12149504-5A18-E9B5-35BB-80FB50B20932}"/>
              </a:ext>
            </a:extLst>
          </p:cNvPr>
          <p:cNvSpPr/>
          <p:nvPr/>
        </p:nvSpPr>
        <p:spPr>
          <a:xfrm>
            <a:off x="268876" y="1776240"/>
            <a:ext cx="4801237" cy="433395"/>
          </a:xfrm>
          <a:prstGeom prst="snip1Rect">
            <a:avLst>
              <a:gd name="adj" fmla="val 19561"/>
            </a:avLst>
          </a:prstGeom>
          <a:gradFill flip="none" rotWithShape="1">
            <a:gsLst>
              <a:gs pos="0">
                <a:sysClr val="window" lastClr="FFFFFF"/>
              </a:gs>
              <a:gs pos="97000">
                <a:srgbClr val="41B9E6">
                  <a:lumMod val="20000"/>
                  <a:lumOff val="8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38" name="think-cell data - do not delete" hidden="1">
            <a:extLst>
              <a:ext uri="{FF2B5EF4-FFF2-40B4-BE49-F238E27FC236}">
                <a16:creationId xmlns:a16="http://schemas.microsoft.com/office/drawing/2014/main" id="{5B40165D-1E61-2342-9E86-2BE92F1827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3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40165D-1E61-2342-9E86-2BE92F1827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3">
            <a:extLst>
              <a:ext uri="{FF2B5EF4-FFF2-40B4-BE49-F238E27FC236}">
                <a16:creationId xmlns:a16="http://schemas.microsoft.com/office/drawing/2014/main" id="{FAA57583-8A10-958A-8262-B32E494C79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670121"/>
            <a:ext cx="8213538" cy="387335"/>
          </a:xfrm>
        </p:spPr>
        <p:txBody>
          <a:bodyPr vert="horz"/>
          <a:lstStyle/>
          <a:p>
            <a:r>
              <a:rPr lang="pt-BR" dirty="0"/>
              <a:t>Preenchimento Formulário de Solicitação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88BDAF13-C3D4-F340-2145-29C915A72F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1999" y="1095361"/>
            <a:ext cx="4901382" cy="285355"/>
          </a:xfrm>
        </p:spPr>
        <p:txBody>
          <a:bodyPr/>
          <a:lstStyle/>
          <a:p>
            <a:r>
              <a:rPr lang="pt-BR" dirty="0"/>
              <a:t>Passo a passo</a:t>
            </a:r>
          </a:p>
        </p:txBody>
      </p:sp>
      <p:sp>
        <p:nvSpPr>
          <p:cNvPr id="9" name="Espaço Reservado para Número de Slide 3">
            <a:extLst>
              <a:ext uri="{FF2B5EF4-FFF2-40B4-BE49-F238E27FC236}">
                <a16:creationId xmlns:a16="http://schemas.microsoft.com/office/drawing/2014/main" id="{DB3DD2B8-BBA9-CEBA-267C-41697D7356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42" y="6624862"/>
            <a:ext cx="747251" cy="126924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2235E-0982-3B42-A838-A74550CD4449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8521C462-5C9C-7275-2956-E080B005DDE1}"/>
              </a:ext>
            </a:extLst>
          </p:cNvPr>
          <p:cNvSpPr txBox="1"/>
          <p:nvPr/>
        </p:nvSpPr>
        <p:spPr>
          <a:xfrm>
            <a:off x="329360" y="2939617"/>
            <a:ext cx="3564213" cy="28973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Ao </a:t>
            </a:r>
            <a:r>
              <a:rPr lang="en-US" sz="1200" dirty="0" err="1">
                <a:solidFill>
                  <a:srgbClr val="000000"/>
                </a:solidFill>
                <a:latin typeface="Arial"/>
              </a:rPr>
              <a:t>abrir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 o arquivo excel, clicar em “Habilitar Conteúdo” (caso seja exibido) para </a:t>
            </a:r>
            <a:r>
              <a:rPr lang="en-US" sz="1200" dirty="0" err="1">
                <a:solidFill>
                  <a:srgbClr val="000000"/>
                </a:solidFill>
                <a:latin typeface="Arial"/>
              </a:rPr>
              <a:t>habilitar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 macros e usar o formulário corretamente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Opções selecionáveis para definição do formulário adequado a solicitação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Abrir Planilhas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– exibe o(s) formulário(s)</a:t>
            </a:r>
            <a:br>
              <a:rPr lang="en-US" sz="1200" dirty="0">
                <a:solidFill>
                  <a:srgbClr val="000000"/>
                </a:solidFill>
                <a:latin typeface="Arial"/>
              </a:rPr>
            </a:br>
            <a:r>
              <a:rPr lang="en-US" sz="1200" b="1" dirty="0">
                <a:solidFill>
                  <a:srgbClr val="000000"/>
                </a:solidFill>
                <a:latin typeface="Arial"/>
              </a:rPr>
              <a:t>Resetar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 - Oculta formulários abertos e reinicia os parâmetros selecionados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C36C11B2-EEE8-154C-0BB6-F3BA5303FB72}"/>
              </a:ext>
            </a:extLst>
          </p:cNvPr>
          <p:cNvSpPr txBox="1"/>
          <p:nvPr/>
        </p:nvSpPr>
        <p:spPr>
          <a:xfrm>
            <a:off x="420278" y="1788946"/>
            <a:ext cx="48012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sng" strike="noStrike" kern="0" cap="none" spc="0" normalizeH="0" baseline="0" noProof="0" dirty="0">
                <a:ln>
                  <a:noFill/>
                </a:ln>
                <a:solidFill>
                  <a:srgbClr val="157EA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- Habilitação de macro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F611A35F-25D2-0E1F-C63D-81E9669D53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48899" y="2054943"/>
            <a:ext cx="6573062" cy="4114800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4A3DB3D2-A5FC-6E62-B5B6-164D26DE361D}"/>
              </a:ext>
            </a:extLst>
          </p:cNvPr>
          <p:cNvSpPr txBox="1"/>
          <p:nvPr/>
        </p:nvSpPr>
        <p:spPr>
          <a:xfrm>
            <a:off x="6626942" y="1661652"/>
            <a:ext cx="39329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t-BR" sz="2000" b="1" dirty="0"/>
              <a:t>1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E2DCAA04-5553-5FE7-C015-960ACD4F1765}"/>
              </a:ext>
            </a:extLst>
          </p:cNvPr>
          <p:cNvSpPr txBox="1"/>
          <p:nvPr/>
        </p:nvSpPr>
        <p:spPr>
          <a:xfrm>
            <a:off x="10618840" y="5643716"/>
            <a:ext cx="39329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t-BR" sz="2000" b="1" dirty="0"/>
              <a:t>3</a:t>
            </a:r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7D5F2E08-FEAF-49F1-8D9B-998CED9B9575}"/>
              </a:ext>
            </a:extLst>
          </p:cNvPr>
          <p:cNvSpPr/>
          <p:nvPr/>
        </p:nvSpPr>
        <p:spPr>
          <a:xfrm>
            <a:off x="4778477" y="3765755"/>
            <a:ext cx="5919020" cy="1514168"/>
          </a:xfrm>
          <a:prstGeom prst="roundRect">
            <a:avLst/>
          </a:prstGeom>
          <a:noFill/>
          <a:ln w="571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pt-BR" sz="2000" dirty="0"/>
          </a:p>
        </p:txBody>
      </p:sp>
      <p:sp>
        <p:nvSpPr>
          <p:cNvPr id="20" name="Retângulo: Cantos Arredondados 19">
            <a:extLst>
              <a:ext uri="{FF2B5EF4-FFF2-40B4-BE49-F238E27FC236}">
                <a16:creationId xmlns:a16="http://schemas.microsoft.com/office/drawing/2014/main" id="{15FAE8E3-A5C3-14CD-0B36-FD1DA3BE1C4A}"/>
              </a:ext>
            </a:extLst>
          </p:cNvPr>
          <p:cNvSpPr/>
          <p:nvPr/>
        </p:nvSpPr>
        <p:spPr>
          <a:xfrm>
            <a:off x="6695768" y="2015613"/>
            <a:ext cx="973394" cy="344129"/>
          </a:xfrm>
          <a:prstGeom prst="roundRect">
            <a:avLst/>
          </a:prstGeom>
          <a:noFill/>
          <a:ln w="571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pt-BR" sz="2000" dirty="0"/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5C4913BE-A38C-D743-ED0C-77603A897399}"/>
              </a:ext>
            </a:extLst>
          </p:cNvPr>
          <p:cNvSpPr txBox="1"/>
          <p:nvPr/>
        </p:nvSpPr>
        <p:spPr>
          <a:xfrm>
            <a:off x="4277034" y="4326194"/>
            <a:ext cx="39329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t-BR" sz="2000" b="1" dirty="0"/>
              <a:t>2</a:t>
            </a:r>
          </a:p>
        </p:txBody>
      </p:sp>
      <p:sp>
        <p:nvSpPr>
          <p:cNvPr id="22" name="Retângulo: Cantos Arredondados 21">
            <a:extLst>
              <a:ext uri="{FF2B5EF4-FFF2-40B4-BE49-F238E27FC236}">
                <a16:creationId xmlns:a16="http://schemas.microsoft.com/office/drawing/2014/main" id="{E6F64C08-48CB-4B29-2488-76B67310DB06}"/>
              </a:ext>
            </a:extLst>
          </p:cNvPr>
          <p:cNvSpPr/>
          <p:nvPr/>
        </p:nvSpPr>
        <p:spPr>
          <a:xfrm>
            <a:off x="9035845" y="5314336"/>
            <a:ext cx="1789472" cy="280220"/>
          </a:xfrm>
          <a:prstGeom prst="roundRect">
            <a:avLst/>
          </a:prstGeom>
          <a:noFill/>
          <a:ln w="571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pt-BR" sz="2000" dirty="0"/>
          </a:p>
        </p:txBody>
      </p:sp>
    </p:spTree>
    <p:extLst>
      <p:ext uri="{BB962C8B-B14F-4D97-AF65-F5344CB8AC3E}">
        <p14:creationId xmlns:p14="http://schemas.microsoft.com/office/powerpoint/2010/main" val="33366002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4D29FE-071B-44A8-DD4B-B8FB83A7CF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44">
            <a:extLst>
              <a:ext uri="{FF2B5EF4-FFF2-40B4-BE49-F238E27FC236}">
                <a16:creationId xmlns:a16="http://schemas.microsoft.com/office/drawing/2014/main" id="{05045F5B-013A-E649-9757-A42D9BDEDF4F}"/>
              </a:ext>
            </a:extLst>
          </p:cNvPr>
          <p:cNvSpPr/>
          <p:nvPr/>
        </p:nvSpPr>
        <p:spPr>
          <a:xfrm>
            <a:off x="268876" y="1776240"/>
            <a:ext cx="4801237" cy="433395"/>
          </a:xfrm>
          <a:prstGeom prst="snip1Rect">
            <a:avLst>
              <a:gd name="adj" fmla="val 19561"/>
            </a:avLst>
          </a:prstGeom>
          <a:gradFill flip="none" rotWithShape="1">
            <a:gsLst>
              <a:gs pos="0">
                <a:sysClr val="window" lastClr="FFFFFF"/>
              </a:gs>
              <a:gs pos="97000">
                <a:srgbClr val="41B9E6">
                  <a:lumMod val="20000"/>
                  <a:lumOff val="8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38" name="think-cell data - do not delete" hidden="1">
            <a:extLst>
              <a:ext uri="{FF2B5EF4-FFF2-40B4-BE49-F238E27FC236}">
                <a16:creationId xmlns:a16="http://schemas.microsoft.com/office/drawing/2014/main" id="{AE1BD365-0E54-229B-053D-9427778521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3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1BD365-0E54-229B-053D-9427778521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3">
            <a:extLst>
              <a:ext uri="{FF2B5EF4-FFF2-40B4-BE49-F238E27FC236}">
                <a16:creationId xmlns:a16="http://schemas.microsoft.com/office/drawing/2014/main" id="{8737D7C9-5AFC-112E-D43F-07BF99FA2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670121"/>
            <a:ext cx="8213538" cy="387335"/>
          </a:xfrm>
        </p:spPr>
        <p:txBody>
          <a:bodyPr vert="horz"/>
          <a:lstStyle/>
          <a:p>
            <a:r>
              <a:rPr lang="pt-BR" dirty="0"/>
              <a:t>Preenchimento Formulário de Solicitação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B2CA0CD5-EFB1-85E4-6AF8-44678138FA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1999" y="1095361"/>
            <a:ext cx="4901382" cy="285355"/>
          </a:xfrm>
        </p:spPr>
        <p:txBody>
          <a:bodyPr/>
          <a:lstStyle/>
          <a:p>
            <a:r>
              <a:rPr lang="pt-BR" dirty="0"/>
              <a:t>Passo a passo</a:t>
            </a:r>
          </a:p>
        </p:txBody>
      </p:sp>
      <p:sp>
        <p:nvSpPr>
          <p:cNvPr id="9" name="Espaço Reservado para Número de Slide 3">
            <a:extLst>
              <a:ext uri="{FF2B5EF4-FFF2-40B4-BE49-F238E27FC236}">
                <a16:creationId xmlns:a16="http://schemas.microsoft.com/office/drawing/2014/main" id="{F73E32CD-E040-7ECD-4128-C50B889E4D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42" y="6624862"/>
            <a:ext cx="747251" cy="126924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2235E-0982-3B42-A838-A74550CD4449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673BF26D-A845-FA0D-FCA2-F46D9AB655A7}"/>
              </a:ext>
            </a:extLst>
          </p:cNvPr>
          <p:cNvSpPr txBox="1"/>
          <p:nvPr/>
        </p:nvSpPr>
        <p:spPr>
          <a:xfrm>
            <a:off x="221207" y="2320184"/>
            <a:ext cx="5393012" cy="43747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Selecione uma das opções abaixo:</a:t>
            </a:r>
          </a:p>
          <a:p>
            <a:pPr marL="685800" lvl="1" indent="-228600">
              <a:lnSpc>
                <a:spcPct val="20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Orçamento estimado/DAL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(verificar custo estimado e viabilidade de conexão no local informado / Documento de Acesso a Leilão)</a:t>
            </a:r>
          </a:p>
          <a:p>
            <a:pPr marL="685800" lvl="1" indent="-228600">
              <a:lnSpc>
                <a:spcPct val="20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Orçamento de Conexão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(custo real da obra proporcionalizado, cronograma de execução da obra e </a:t>
            </a:r>
            <a:r>
              <a:rPr lang="pt-BR" sz="1200" dirty="0">
                <a:solidFill>
                  <a:srgbClr val="000000"/>
                </a:solidFill>
                <a:latin typeface="Arial"/>
              </a:rPr>
              <a:t>recebimento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 do boleto para pagamento)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Selecione uma das opções:</a:t>
            </a:r>
          </a:p>
          <a:p>
            <a:pPr marL="685800" lvl="1" indent="-228600">
              <a:lnSpc>
                <a:spcPct val="20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Microgeração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 (&lt;= 75kW)</a:t>
            </a:r>
          </a:p>
          <a:p>
            <a:pPr marL="685800" lvl="1" indent="-228600">
              <a:lnSpc>
                <a:spcPct val="20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Minigeração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 (&gt;= 75kW)</a:t>
            </a:r>
          </a:p>
          <a:p>
            <a:pPr marL="685800" lvl="1" indent="-228600">
              <a:lnSpc>
                <a:spcPct val="20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Carga</a:t>
            </a:r>
          </a:p>
          <a:p>
            <a:pPr marL="685800" lvl="1" indent="-228600">
              <a:lnSpc>
                <a:spcPct val="20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Autoprodutor ou Produtor independente</a:t>
            </a:r>
          </a:p>
          <a:p>
            <a:pPr marL="685800" lvl="1" indent="-228600">
              <a:lnSpc>
                <a:spcPct val="20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Cliente com geração sem exportação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F87F90FC-91CE-B11B-58C7-21DD801EA305}"/>
              </a:ext>
            </a:extLst>
          </p:cNvPr>
          <p:cNvSpPr txBox="1"/>
          <p:nvPr/>
        </p:nvSpPr>
        <p:spPr>
          <a:xfrm>
            <a:off x="420278" y="1788946"/>
            <a:ext cx="554790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1" u="sng" kern="0" dirty="0">
                <a:solidFill>
                  <a:srgbClr val="157EA3"/>
                </a:solidFill>
                <a:latin typeface="Arial"/>
              </a:rPr>
              <a:t>2</a:t>
            </a:r>
            <a:r>
              <a:rPr kumimoji="0" lang="pt-BR" sz="1800" b="1" i="0" u="sng" strike="noStrike" kern="0" cap="none" spc="0" normalizeH="0" baseline="0" noProof="0" dirty="0">
                <a:ln>
                  <a:noFill/>
                </a:ln>
                <a:solidFill>
                  <a:srgbClr val="157EA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 Definição do tipo de orçamento e client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0879CA52-0E4A-A911-2071-7ECC646BC78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43946"/>
          <a:stretch/>
        </p:blipFill>
        <p:spPr>
          <a:xfrm>
            <a:off x="6146864" y="2418737"/>
            <a:ext cx="5868155" cy="1858296"/>
          </a:xfrm>
          <a:prstGeom prst="rect">
            <a:avLst/>
          </a:prstGeom>
        </p:spPr>
      </p:pic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AF1A25CF-7E09-69FF-71A6-CBA2DCCB413A}"/>
              </a:ext>
            </a:extLst>
          </p:cNvPr>
          <p:cNvSpPr/>
          <p:nvPr/>
        </p:nvSpPr>
        <p:spPr>
          <a:xfrm>
            <a:off x="6073492" y="2477731"/>
            <a:ext cx="4620353" cy="602607"/>
          </a:xfrm>
          <a:prstGeom prst="roundRect">
            <a:avLst/>
          </a:prstGeom>
          <a:noFill/>
          <a:ln w="571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pt-BR" sz="2000" dirty="0"/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D001D725-C9D2-FE72-1DF3-301C1FE21298}"/>
              </a:ext>
            </a:extLst>
          </p:cNvPr>
          <p:cNvSpPr txBox="1"/>
          <p:nvPr/>
        </p:nvSpPr>
        <p:spPr>
          <a:xfrm>
            <a:off x="9995756" y="2163097"/>
            <a:ext cx="44245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t-BR" sz="2000" b="1" dirty="0"/>
              <a:t>1</a:t>
            </a:r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0567DC20-CDDA-CDD0-8694-585E79DC992B}"/>
              </a:ext>
            </a:extLst>
          </p:cNvPr>
          <p:cNvSpPr/>
          <p:nvPr/>
        </p:nvSpPr>
        <p:spPr>
          <a:xfrm>
            <a:off x="6159473" y="3136490"/>
            <a:ext cx="5855545" cy="866251"/>
          </a:xfrm>
          <a:prstGeom prst="roundRect">
            <a:avLst/>
          </a:prstGeom>
          <a:noFill/>
          <a:ln w="571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pt-BR" sz="2000" dirty="0"/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32CE9B77-691F-9156-E88D-E7EF9F5F0C7F}"/>
              </a:ext>
            </a:extLst>
          </p:cNvPr>
          <p:cNvSpPr txBox="1"/>
          <p:nvPr/>
        </p:nvSpPr>
        <p:spPr>
          <a:xfrm>
            <a:off x="6465976" y="3539614"/>
            <a:ext cx="44245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t-BR" sz="2000" b="1" dirty="0"/>
              <a:t>2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2A8AAD67-9A75-1093-43EC-67748B486C2C}"/>
              </a:ext>
            </a:extLst>
          </p:cNvPr>
          <p:cNvSpPr txBox="1"/>
          <p:nvPr/>
        </p:nvSpPr>
        <p:spPr>
          <a:xfrm>
            <a:off x="6784257" y="4925962"/>
            <a:ext cx="500462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1400" dirty="0"/>
              <a:t>3 - Ao concluir, clicar em </a:t>
            </a:r>
            <a:r>
              <a:rPr lang="pt-BR" sz="1400" b="1" u="sng" dirty="0"/>
              <a:t>Abrir Planilhas</a:t>
            </a:r>
            <a:r>
              <a:rPr lang="pt-BR" sz="1400" dirty="0"/>
              <a:t> para exibir o formulário adequado</a:t>
            </a:r>
          </a:p>
        </p:txBody>
      </p:sp>
      <p:sp>
        <p:nvSpPr>
          <p:cNvPr id="18" name="Retângulo: Cantos Arredondados 17">
            <a:extLst>
              <a:ext uri="{FF2B5EF4-FFF2-40B4-BE49-F238E27FC236}">
                <a16:creationId xmlns:a16="http://schemas.microsoft.com/office/drawing/2014/main" id="{FE8074BE-7C48-795B-F281-BB21198250CE}"/>
              </a:ext>
            </a:extLst>
          </p:cNvPr>
          <p:cNvSpPr/>
          <p:nvPr/>
        </p:nvSpPr>
        <p:spPr>
          <a:xfrm>
            <a:off x="10441093" y="3972236"/>
            <a:ext cx="836508" cy="316692"/>
          </a:xfrm>
          <a:prstGeom prst="roundRect">
            <a:avLst/>
          </a:prstGeom>
          <a:noFill/>
          <a:ln w="571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pt-BR" sz="2000" dirty="0"/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B88DEE53-15B4-6388-5073-9A93AF5F7AE2}"/>
              </a:ext>
            </a:extLst>
          </p:cNvPr>
          <p:cNvSpPr txBox="1"/>
          <p:nvPr/>
        </p:nvSpPr>
        <p:spPr>
          <a:xfrm>
            <a:off x="9917099" y="4306530"/>
            <a:ext cx="44245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t-BR" sz="2000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1667854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99FE2A-1CC3-7CA1-33CE-73F71F64D3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44">
            <a:extLst>
              <a:ext uri="{FF2B5EF4-FFF2-40B4-BE49-F238E27FC236}">
                <a16:creationId xmlns:a16="http://schemas.microsoft.com/office/drawing/2014/main" id="{00098D82-52F9-4885-29E9-E6EF46E7E048}"/>
              </a:ext>
            </a:extLst>
          </p:cNvPr>
          <p:cNvSpPr/>
          <p:nvPr/>
        </p:nvSpPr>
        <p:spPr>
          <a:xfrm>
            <a:off x="268876" y="1776240"/>
            <a:ext cx="4801237" cy="433395"/>
          </a:xfrm>
          <a:prstGeom prst="snip1Rect">
            <a:avLst>
              <a:gd name="adj" fmla="val 19561"/>
            </a:avLst>
          </a:prstGeom>
          <a:gradFill flip="none" rotWithShape="1">
            <a:gsLst>
              <a:gs pos="0">
                <a:sysClr val="window" lastClr="FFFFFF"/>
              </a:gs>
              <a:gs pos="97000">
                <a:srgbClr val="41B9E6">
                  <a:lumMod val="20000"/>
                  <a:lumOff val="8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38" name="think-cell data - do not delete" hidden="1">
            <a:extLst>
              <a:ext uri="{FF2B5EF4-FFF2-40B4-BE49-F238E27FC236}">
                <a16:creationId xmlns:a16="http://schemas.microsoft.com/office/drawing/2014/main" id="{8546E60A-6024-C63B-D77C-09EE389A3E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47" imgH="348" progId="TCLayout.ActiveDocument.1">
                  <p:embed/>
                </p:oleObj>
              </mc:Choice>
              <mc:Fallback>
                <p:oleObj name="Slide do think-cell" r:id="rId4" imgW="347" imgH="348" progId="TCLayout.ActiveDocument.1">
                  <p:embed/>
                  <p:pic>
                    <p:nvPicPr>
                      <p:cNvPr id="3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46E60A-6024-C63B-D77C-09EE389A3E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3">
            <a:extLst>
              <a:ext uri="{FF2B5EF4-FFF2-40B4-BE49-F238E27FC236}">
                <a16:creationId xmlns:a16="http://schemas.microsoft.com/office/drawing/2014/main" id="{9572CBC0-3EAF-2377-04F5-A3FC0BB6F1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670121"/>
            <a:ext cx="8213538" cy="387335"/>
          </a:xfrm>
        </p:spPr>
        <p:txBody>
          <a:bodyPr vert="horz"/>
          <a:lstStyle/>
          <a:p>
            <a:r>
              <a:rPr lang="pt-BR" dirty="0"/>
              <a:t>Preenchimento Formulário de Solicitação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58DDAD43-2157-39C7-17B3-50B4EC6C9F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1999" y="1095361"/>
            <a:ext cx="4901382" cy="285355"/>
          </a:xfrm>
        </p:spPr>
        <p:txBody>
          <a:bodyPr/>
          <a:lstStyle/>
          <a:p>
            <a:r>
              <a:rPr lang="pt-BR" dirty="0"/>
              <a:t>Passo a passo</a:t>
            </a:r>
          </a:p>
        </p:txBody>
      </p:sp>
      <p:sp>
        <p:nvSpPr>
          <p:cNvPr id="9" name="Espaço Reservado para Número de Slide 3">
            <a:extLst>
              <a:ext uri="{FF2B5EF4-FFF2-40B4-BE49-F238E27FC236}">
                <a16:creationId xmlns:a16="http://schemas.microsoft.com/office/drawing/2014/main" id="{A6F04A30-78B0-79A1-4E1E-CD1CC00AA1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42" y="6624862"/>
            <a:ext cx="747251" cy="126924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2235E-0982-3B42-A838-A74550CD4449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2BDE8D28-637E-79DF-240C-81DC9D2FD0FD}"/>
              </a:ext>
            </a:extLst>
          </p:cNvPr>
          <p:cNvSpPr txBox="1"/>
          <p:nvPr/>
        </p:nvSpPr>
        <p:spPr>
          <a:xfrm>
            <a:off x="408020" y="2408674"/>
            <a:ext cx="4183646" cy="3370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600" b="1" dirty="0">
                <a:solidFill>
                  <a:srgbClr val="000000"/>
                </a:solidFill>
                <a:latin typeface="Arial"/>
              </a:rPr>
              <a:t>Preencher todos os campos/seções obrigatórias do formulário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600" b="1" dirty="0">
                <a:solidFill>
                  <a:srgbClr val="000000"/>
                </a:solidFill>
                <a:latin typeface="Arial"/>
              </a:rPr>
              <a:t>Datar e assinar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600" b="1" dirty="0">
                <a:solidFill>
                  <a:srgbClr val="000000"/>
                </a:solidFill>
                <a:latin typeface="Arial"/>
              </a:rPr>
              <a:t>Salvar o documento em excel e enviar por e-mail à Enel </a:t>
            </a:r>
            <a:r>
              <a:rPr lang="en-US" sz="1600" dirty="0">
                <a:solidFill>
                  <a:srgbClr val="000000"/>
                </a:solidFill>
                <a:latin typeface="Arial"/>
              </a:rPr>
              <a:t>(e-mail para solicitação e orientações em relação as demais documentações estão no site da Enel)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20D185E1-BAFC-A28B-9B69-A40F46D9C0CA}"/>
              </a:ext>
            </a:extLst>
          </p:cNvPr>
          <p:cNvSpPr txBox="1"/>
          <p:nvPr/>
        </p:nvSpPr>
        <p:spPr>
          <a:xfrm>
            <a:off x="420278" y="1788946"/>
            <a:ext cx="724888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sng" strike="noStrike" kern="0" cap="none" spc="0" normalizeH="0" baseline="0" noProof="0" dirty="0">
                <a:ln>
                  <a:noFill/>
                </a:ln>
                <a:solidFill>
                  <a:srgbClr val="157EA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 – </a:t>
            </a:r>
            <a:r>
              <a:rPr lang="pt-BR" b="1" u="sng" kern="0" dirty="0">
                <a:solidFill>
                  <a:srgbClr val="157EA3"/>
                </a:solidFill>
                <a:latin typeface="Arial"/>
              </a:rPr>
              <a:t>Preenchimento do Formulário e envio para a Enel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6CE8AA78-B85D-AA9B-EBD4-A9D6F88562A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45573" y="2241756"/>
            <a:ext cx="5952136" cy="38837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8FC6BC49-6BDA-6005-06A6-FFDC6E415A75}"/>
              </a:ext>
            </a:extLst>
          </p:cNvPr>
          <p:cNvSpPr txBox="1"/>
          <p:nvPr/>
        </p:nvSpPr>
        <p:spPr>
          <a:xfrm>
            <a:off x="5388078" y="6253316"/>
            <a:ext cx="646962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BR" sz="1400" b="1" dirty="0"/>
              <a:t>Obs: Caso alguma informação obrigatória não seja preenchida corretamente sua solicitação poderá ser cancelada</a:t>
            </a:r>
          </a:p>
        </p:txBody>
      </p:sp>
    </p:spTree>
    <p:extLst>
      <p:ext uri="{BB962C8B-B14F-4D97-AF65-F5344CB8AC3E}">
        <p14:creationId xmlns:p14="http://schemas.microsoft.com/office/powerpoint/2010/main" val="893517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Enel Template v2.6 [JPEG+VECTOR LOGO]">
  <a:themeElements>
    <a:clrScheme name="Enel">
      <a:dk1>
        <a:srgbClr val="000000"/>
      </a:dk1>
      <a:lt1>
        <a:srgbClr val="FFFFFF"/>
      </a:lt1>
      <a:dk2>
        <a:srgbClr val="C6C6C6"/>
      </a:dk2>
      <a:lt2>
        <a:srgbClr val="FFFFFF"/>
      </a:lt2>
      <a:accent1>
        <a:srgbClr val="E61400"/>
      </a:accent1>
      <a:accent2>
        <a:srgbClr val="0555FA"/>
      </a:accent2>
      <a:accent3>
        <a:srgbClr val="EB0051"/>
      </a:accent3>
      <a:accent4>
        <a:srgbClr val="008556"/>
      </a:accent4>
      <a:accent5>
        <a:srgbClr val="D64100"/>
      </a:accent5>
      <a:accent6>
        <a:srgbClr val="157EA3"/>
      </a:accent6>
      <a:hlink>
        <a:srgbClr val="FF4687"/>
      </a:hlink>
      <a:folHlink>
        <a:srgbClr val="32853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odelo PowerPoint_BP" id="{FD0CAB10-2C6C-4784-94E3-A6F15BB9E94B}" vid="{C5CF09FC-0012-4C3F-ADD3-935BA49A334C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</TotalTime>
  <Words>319</Words>
  <Application>Microsoft Office PowerPoint</Application>
  <PresentationFormat>Widescreen</PresentationFormat>
  <Paragraphs>53</Paragraphs>
  <Slides>4</Slides>
  <Notes>4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4</vt:i4>
      </vt:variant>
    </vt:vector>
  </HeadingPairs>
  <TitlesOfParts>
    <vt:vector size="12" baseType="lpstr">
      <vt:lpstr>Aptos</vt:lpstr>
      <vt:lpstr>Arial</vt:lpstr>
      <vt:lpstr>Arial Black</vt:lpstr>
      <vt:lpstr>Courier New</vt:lpstr>
      <vt:lpstr>Lucida Grande</vt:lpstr>
      <vt:lpstr>Wingdings</vt:lpstr>
      <vt:lpstr>2_Enel Template v2.6 [JPEG+VECTOR LOGO]</vt:lpstr>
      <vt:lpstr>Slide do think-cell</vt:lpstr>
      <vt:lpstr>Preenchimento Formulário de Solicitação</vt:lpstr>
      <vt:lpstr>Preenchimento Formulário de Solicitação</vt:lpstr>
      <vt:lpstr>Preenchimento Formulário de Solicitação</vt:lpstr>
      <vt:lpstr>Preenchimento Formulário de Solicitaçã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lhorias de processo</dc:title>
  <dc:creator>Rodolpho Nogueira De Sousa, Enel</dc:creator>
  <cp:lastModifiedBy>Rodolpho Nogueira De Sousa, Enel</cp:lastModifiedBy>
  <cp:revision>3</cp:revision>
  <dcterms:created xsi:type="dcterms:W3CDTF">2024-07-16T19:11:42Z</dcterms:created>
  <dcterms:modified xsi:type="dcterms:W3CDTF">2025-04-24T18:20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97ad33d-ed35-43c0-b526-22bc83c17deb_Enabled">
    <vt:lpwstr>true</vt:lpwstr>
  </property>
  <property fmtid="{D5CDD505-2E9C-101B-9397-08002B2CF9AE}" pid="3" name="MSIP_Label_797ad33d-ed35-43c0-b526-22bc83c17deb_SetDate">
    <vt:lpwstr>2024-07-16T19:13:09Z</vt:lpwstr>
  </property>
  <property fmtid="{D5CDD505-2E9C-101B-9397-08002B2CF9AE}" pid="4" name="MSIP_Label_797ad33d-ed35-43c0-b526-22bc83c17deb_Method">
    <vt:lpwstr>Standard</vt:lpwstr>
  </property>
  <property fmtid="{D5CDD505-2E9C-101B-9397-08002B2CF9AE}" pid="5" name="MSIP_Label_797ad33d-ed35-43c0-b526-22bc83c17deb_Name">
    <vt:lpwstr>797ad33d-ed35-43c0-b526-22bc83c17deb</vt:lpwstr>
  </property>
  <property fmtid="{D5CDD505-2E9C-101B-9397-08002B2CF9AE}" pid="6" name="MSIP_Label_797ad33d-ed35-43c0-b526-22bc83c17deb_SiteId">
    <vt:lpwstr>d539d4bf-5610-471a-afc2-1c76685cfefa</vt:lpwstr>
  </property>
  <property fmtid="{D5CDD505-2E9C-101B-9397-08002B2CF9AE}" pid="7" name="MSIP_Label_797ad33d-ed35-43c0-b526-22bc83c17deb_ActionId">
    <vt:lpwstr>7aa5e4b5-e074-4228-814d-226a0b9b4517</vt:lpwstr>
  </property>
  <property fmtid="{D5CDD505-2E9C-101B-9397-08002B2CF9AE}" pid="8" name="MSIP_Label_797ad33d-ed35-43c0-b526-22bc83c17deb_ContentBits">
    <vt:lpwstr>1</vt:lpwstr>
  </property>
  <property fmtid="{D5CDD505-2E9C-101B-9397-08002B2CF9AE}" pid="9" name="ClassificationContentMarkingHeaderLocations">
    <vt:lpwstr>2_Enel Template v2.6 [JPEG+VECTOR LOGO]:8</vt:lpwstr>
  </property>
  <property fmtid="{D5CDD505-2E9C-101B-9397-08002B2CF9AE}" pid="10" name="ClassificationContentMarkingHeaderText">
    <vt:lpwstr>INTERNAL</vt:lpwstr>
  </property>
</Properties>
</file>